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</p:sldMasterIdLst>
  <p:notesMasterIdLst>
    <p:notesMasterId r:id="rId20"/>
  </p:notesMasterIdLst>
  <p:handoutMasterIdLst>
    <p:handoutMasterId r:id="rId21"/>
  </p:handoutMasterIdLst>
  <p:sldIdLst>
    <p:sldId id="271" r:id="rId5"/>
    <p:sldId id="333" r:id="rId6"/>
    <p:sldId id="318" r:id="rId7"/>
    <p:sldId id="319" r:id="rId8"/>
    <p:sldId id="265" r:id="rId9"/>
    <p:sldId id="264" r:id="rId10"/>
    <p:sldId id="338" r:id="rId11"/>
    <p:sldId id="339" r:id="rId12"/>
    <p:sldId id="267" r:id="rId13"/>
    <p:sldId id="268" r:id="rId14"/>
    <p:sldId id="269" r:id="rId15"/>
    <p:sldId id="270" r:id="rId16"/>
    <p:sldId id="332" r:id="rId17"/>
    <p:sldId id="334" r:id="rId18"/>
    <p:sldId id="331" r:id="rId19"/>
  </p:sldIdLst>
  <p:sldSz cx="12192000" cy="6858000"/>
  <p:notesSz cx="6858000" cy="9144000"/>
  <p:defaultTextStyle>
    <a:defPPr rtl="0">
      <a:defRPr lang="de-DE"/>
    </a:defPPr>
    <a:lvl1pPr marL="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de-DE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B2B"/>
    <a:srgbClr val="181818"/>
    <a:srgbClr val="FFFF99"/>
    <a:srgbClr val="1B192E"/>
    <a:srgbClr val="4D768D"/>
    <a:srgbClr val="456B80"/>
    <a:srgbClr val="F8A860"/>
    <a:srgbClr val="AAE2E9"/>
    <a:srgbClr val="B86900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7"/>
    <p:restoredTop sz="92887" autoAdjust="0"/>
  </p:normalViewPr>
  <p:slideViewPr>
    <p:cSldViewPr snapToGrid="0">
      <p:cViewPr varScale="1">
        <p:scale>
          <a:sx n="114" d="100"/>
          <a:sy n="114" d="100"/>
        </p:scale>
        <p:origin x="264" y="1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5F4DCF1-ECAF-F7A7-2FE7-5E8E893BC4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DE"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1330B0-5BAC-7408-8C3C-78D8336840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/>
            </a:lvl1pPr>
          </a:lstStyle>
          <a:p>
            <a:pPr rtl="0"/>
            <a:fld id="{CB8A531B-D10A-4A00-8E97-36105489925A}" type="datetime1">
              <a:rPr lang="de-DE" smtClean="0"/>
              <a:t>22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D7EEB3-E0A5-7440-F7ED-F59975ED1E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DE"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F548D11-7466-6432-3BF5-64A1A1FA59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de-DE" sz="1200"/>
            </a:lvl1pPr>
          </a:lstStyle>
          <a:p>
            <a:pPr rtl="0"/>
            <a:fld id="{CFA70580-B89C-4157-871D-6B9318EE5F5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31574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DE"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/>
            </a:lvl1pPr>
          </a:lstStyle>
          <a:p>
            <a:pPr rtl="0"/>
            <a:fld id="{C563769F-93B2-4387-BE20-6C983F01D6F8}" type="datetime1">
              <a:rPr lang="de-DE" smtClean="0"/>
              <a:t>22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>
            <a:defPPr>
              <a:defRPr lang="de-DE"/>
            </a:defPPr>
          </a:lstStyle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lang="de-DE"/>
            </a:defPPr>
          </a:lstStyle>
          <a:p>
            <a:pPr lvl="0" rtl="0"/>
            <a:r>
              <a:rPr lang="de-DE"/>
              <a:t>Textmasterformat durch Klicken bearbeit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DE" sz="1200"/>
            </a:lvl1pPr>
          </a:lstStyle>
          <a:p>
            <a:pPr rtl="0"/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lang="de-DE" sz="1200"/>
            </a:lvl1pPr>
          </a:lstStyle>
          <a:p>
            <a:pPr rtl="0"/>
            <a:fld id="{E7AF00E9-A49D-4007-B3B9-A3783809E5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9697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E7AF00E9-A49D-4007-B3B9-A3783809E50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191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3398F5-F9F0-5447-BC81-058C8297AB1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3878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A6C455-F36E-B817-ACCC-44302982E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1B12D48-6A57-5AF7-8F27-9007D40775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7C1059-EACB-4ACF-3265-32B2C20D4F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FF5574-4ECB-15D9-6B96-A6E52228AD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E7AF00E9-A49D-4007-B3B9-A3783809E50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9132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22053C-0E9C-4159-B7C9-6AB743439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8020" y="662937"/>
            <a:ext cx="4624442" cy="5542025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de-DE" dirty="0"/>
            </a:lvl1pPr>
          </a:lstStyle>
          <a:p>
            <a:pPr lvl="0" rtl="0">
              <a:lnSpc>
                <a:spcPct val="100000"/>
              </a:lnSpc>
            </a:pPr>
            <a:r>
              <a:rPr lang="de-DE"/>
              <a:t>Titel durch Klicken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88CE9D0-E6DB-A38D-ED84-A53D0493E6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267450" cy="6858000"/>
          </a:xfrm>
        </p:spPr>
        <p:txBody>
          <a:bodyPr rtlCol="0">
            <a:normAutofit/>
          </a:bodyPr>
          <a:lstStyle>
            <a:lvl1pPr marL="0" indent="0" algn="ctr">
              <a:buNone/>
              <a:defRPr lang="de-DE" sz="2000"/>
            </a:lvl1pPr>
          </a:lstStyle>
          <a:p>
            <a:pPr rt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68207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esordn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43C4A872-A473-BFD2-150E-387250C2B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13998" y="5334748"/>
            <a:ext cx="678135" cy="990000"/>
            <a:chOff x="10490969" y="1448827"/>
            <a:chExt cx="678135" cy="990000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5C8D53B-A579-BCFA-58E8-C386DABC92CD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68976" y="1743588"/>
              <a:ext cx="926985" cy="463493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127000" dist="50800" dir="13500000">
                <a:schemeClr val="accent1">
                  <a:lumMod val="40000"/>
                  <a:lumOff val="6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23A34CAC-4A03-ADDB-E97F-8675E68FC0B3}"/>
                </a:ext>
              </a:extLst>
            </p:cNvPr>
            <p:cNvSpPr/>
            <p:nvPr/>
          </p:nvSpPr>
          <p:spPr>
            <a:xfrm rot="8100000" flipH="1" flipV="1">
              <a:off x="11115555" y="1939340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0C733506-2F0D-8F31-52D1-5244F04A706B}"/>
                </a:ext>
              </a:extLst>
            </p:cNvPr>
            <p:cNvSpPr/>
            <p:nvPr/>
          </p:nvSpPr>
          <p:spPr>
            <a:xfrm rot="8100000" flipH="1" flipV="1">
              <a:off x="10625042" y="1448827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9356E3D-E14C-9C43-7CE4-A7156B1E10DB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92519" y="1686748"/>
              <a:ext cx="926985" cy="530086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20000"/>
              </a:schemeClr>
            </a:solidFill>
            <a:ln>
              <a:noFill/>
            </a:ln>
            <a:effectLst>
              <a:softEdge rad="1016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id="{85C652DA-55F6-9691-4254-344E0A4E9A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83924"/>
            <a:ext cx="11090275" cy="1684059"/>
          </a:xfrm>
        </p:spPr>
        <p:txBody>
          <a:bodyPr rtlCol="0" anchor="b">
            <a:normAutofit/>
          </a:bodyPr>
          <a:lstStyle>
            <a:lvl1pPr>
              <a:defRPr lang="de-DE" sz="4000"/>
            </a:lvl1pPr>
          </a:lstStyle>
          <a:p>
            <a:pPr rtl="0"/>
            <a:r>
              <a:rPr lang="de-DE"/>
              <a:t>Titel durch Klicken hinzufügen</a:t>
            </a:r>
          </a:p>
        </p:txBody>
      </p:sp>
      <p:sp>
        <p:nvSpPr>
          <p:cNvPr id="22" name="Inhaltsplatzhalter 21">
            <a:extLst>
              <a:ext uri="{FF2B5EF4-FFF2-40B4-BE49-F238E27FC236}">
                <a16:creationId xmlns:a16="http://schemas.microsoft.com/office/drawing/2014/main" id="{4DB7AC4F-2818-7F0D-AC6A-736D5F2C739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3" y="2419350"/>
            <a:ext cx="11090274" cy="3913188"/>
          </a:xfrm>
        </p:spPr>
        <p:txBody>
          <a:bodyPr rtlCol="0">
            <a:normAutofit/>
          </a:bodyPr>
          <a:lstStyle>
            <a:lvl1pPr marL="0" indent="0">
              <a:buNone/>
              <a:defRPr lang="de-DE" sz="1800">
                <a:solidFill>
                  <a:schemeClr val="tx1"/>
                </a:solidFill>
              </a:defRPr>
            </a:lvl1pPr>
            <a:lvl2pPr>
              <a:defRPr lang="de-DE" sz="1200">
                <a:solidFill>
                  <a:schemeClr val="tx1"/>
                </a:solidFill>
              </a:defRPr>
            </a:lvl2pPr>
            <a:lvl3pPr>
              <a:defRPr lang="de-DE" sz="1200">
                <a:solidFill>
                  <a:schemeClr val="tx1"/>
                </a:solidFill>
              </a:defRPr>
            </a:lvl3pPr>
            <a:lvl4pPr>
              <a:defRPr lang="de-DE" sz="1200">
                <a:solidFill>
                  <a:schemeClr val="tx1"/>
                </a:solidFill>
              </a:defRPr>
            </a:lvl4pPr>
            <a:lvl5pPr>
              <a:defRPr lang="de-DE" sz="12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1DB1A5E7-4375-4FD5-94A8-F8D5FE464FF1}" type="datetime1">
              <a:rPr lang="de-DE" smtClean="0"/>
              <a:t>22.06.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C61DF04-D7CB-2B19-8BB9-3E90A66197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010824" y="1514007"/>
            <a:ext cx="734257" cy="760506"/>
            <a:chOff x="5243759" y="1363788"/>
            <a:chExt cx="734257" cy="760506"/>
          </a:xfrm>
        </p:grpSpPr>
        <p:sp>
          <p:nvSpPr>
            <p:cNvPr id="6" name="Freihandform 5">
              <a:extLst>
                <a:ext uri="{FF2B5EF4-FFF2-40B4-BE49-F238E27FC236}">
                  <a16:creationId xmlns:a16="http://schemas.microsoft.com/office/drawing/2014/main" id="{5DE1CC00-F893-E215-8086-65B6605C5FC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7" name="Freihandform 6">
              <a:extLst>
                <a:ext uri="{FF2B5EF4-FFF2-40B4-BE49-F238E27FC236}">
                  <a16:creationId xmlns:a16="http://schemas.microsoft.com/office/drawing/2014/main" id="{6EBF50D9-F9B8-ADB3-8B4A-AF19564EE6EB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8" name="Freihandform 8">
              <a:extLst>
                <a:ext uri="{FF2B5EF4-FFF2-40B4-BE49-F238E27FC236}">
                  <a16:creationId xmlns:a16="http://schemas.microsoft.com/office/drawing/2014/main" id="{80BE1060-7183-58F8-EEBF-64135EE82BC5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sp>
        <p:nvSpPr>
          <p:cNvPr id="11" name="Ellipse 10">
            <a:extLst>
              <a:ext uri="{FF2B5EF4-FFF2-40B4-BE49-F238E27FC236}">
                <a16:creationId xmlns:a16="http://schemas.microsoft.com/office/drawing/2014/main" id="{E597A3BE-0D13-9033-E3FD-78202DB799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10168304" y="385236"/>
            <a:ext cx="1080000" cy="108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>
                  <a:lumMod val="10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254000" dist="127000" dir="2700000">
              <a:schemeClr val="accent1">
                <a:lumMod val="60000"/>
                <a:lumOff val="40000"/>
                <a:alpha val="4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8867D9A-3F3B-94C3-244B-0006226AE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9063019" y="3199533"/>
            <a:ext cx="3597052" cy="2615018"/>
            <a:chOff x="4541453" y="3199533"/>
            <a:chExt cx="3597052" cy="2615018"/>
          </a:xfrm>
        </p:grpSpPr>
        <p:sp>
          <p:nvSpPr>
            <p:cNvPr id="13" name="Freihandform: Form 38">
              <a:extLst>
                <a:ext uri="{FF2B5EF4-FFF2-40B4-BE49-F238E27FC236}">
                  <a16:creationId xmlns:a16="http://schemas.microsoft.com/office/drawing/2014/main" id="{955FC3D1-6227-A188-CCDB-11D573FD807A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4602175" y="3958416"/>
              <a:ext cx="3536330" cy="1853969"/>
            </a:xfrm>
            <a:custGeom>
              <a:avLst/>
              <a:gdLst>
                <a:gd name="connsiteX0" fmla="*/ 3536330 w 3536330"/>
                <a:gd name="connsiteY0" fmla="*/ 1853969 h 1853969"/>
                <a:gd name="connsiteX1" fmla="*/ 1682362 w 3536330"/>
                <a:gd name="connsiteY1" fmla="*/ 0 h 1853969"/>
                <a:gd name="connsiteX2" fmla="*/ 52157 w 3536330"/>
                <a:gd name="connsiteY2" fmla="*/ 970257 h 1853969"/>
                <a:gd name="connsiteX3" fmla="*/ 0 w 3536330"/>
                <a:gd name="connsiteY3" fmla="*/ 1078528 h 1853969"/>
                <a:gd name="connsiteX4" fmla="*/ 757215 w 3536330"/>
                <a:gd name="connsiteY4" fmla="*/ 1835743 h 1853969"/>
                <a:gd name="connsiteX5" fmla="*/ 774211 w 3536330"/>
                <a:gd name="connsiteY5" fmla="*/ 1667149 h 1853969"/>
                <a:gd name="connsiteX6" fmla="*/ 1682362 w 3536330"/>
                <a:gd name="connsiteY6" fmla="*/ 926985 h 1853969"/>
                <a:gd name="connsiteX7" fmla="*/ 2609345 w 3536330"/>
                <a:gd name="connsiteY7" fmla="*/ 1853969 h 185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36330" h="1853969">
                  <a:moveTo>
                    <a:pt x="3536330" y="1853969"/>
                  </a:moveTo>
                  <a:cubicBezTo>
                    <a:pt x="3536330" y="830051"/>
                    <a:pt x="2706280" y="0"/>
                    <a:pt x="1682362" y="0"/>
                  </a:cubicBezTo>
                  <a:cubicBezTo>
                    <a:pt x="978418" y="0"/>
                    <a:pt x="366107" y="392328"/>
                    <a:pt x="52157" y="970257"/>
                  </a:cubicBezTo>
                  <a:lnTo>
                    <a:pt x="0" y="1078528"/>
                  </a:lnTo>
                  <a:lnTo>
                    <a:pt x="757215" y="1835743"/>
                  </a:lnTo>
                  <a:lnTo>
                    <a:pt x="774211" y="1667149"/>
                  </a:lnTo>
                  <a:cubicBezTo>
                    <a:pt x="860649" y="1244739"/>
                    <a:pt x="1234397" y="926985"/>
                    <a:pt x="1682362" y="926985"/>
                  </a:cubicBezTo>
                  <a:cubicBezTo>
                    <a:pt x="2194320" y="926985"/>
                    <a:pt x="2609345" y="1342010"/>
                    <a:pt x="2609345" y="1853969"/>
                  </a:cubicBezTo>
                  <a:close/>
                </a:path>
              </a:pathLst>
            </a:custGeom>
            <a:gradFill flip="none" rotWithShape="1">
              <a:gsLst>
                <a:gs pos="97000">
                  <a:schemeClr val="bg2"/>
                </a:gs>
                <a:gs pos="31000">
                  <a:schemeClr val="bg2">
                    <a:lumMod val="90000"/>
                    <a:lumOff val="10000"/>
                  </a:schemeClr>
                </a:gs>
              </a:gsLst>
              <a:lin ang="15000000" scaled="0"/>
              <a:tileRect/>
            </a:gradFill>
            <a:ln>
              <a:noFill/>
            </a:ln>
            <a:effectLst>
              <a:innerShdw blurRad="355600" dist="101600" dir="16200000">
                <a:schemeClr val="accent1">
                  <a:lumMod val="60000"/>
                  <a:lumOff val="40000"/>
                  <a:alpha val="8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AE6BE70E-C41E-449D-A48C-4EB6BB7DC20D}"/>
                </a:ext>
              </a:extLst>
            </p:cNvPr>
            <p:cNvGrpSpPr/>
            <p:nvPr/>
          </p:nvGrpSpPr>
          <p:grpSpPr>
            <a:xfrm>
              <a:off x="4541453" y="3199533"/>
              <a:ext cx="3478701" cy="2615018"/>
              <a:chOff x="-481151" y="3199533"/>
              <a:chExt cx="3478701" cy="2615018"/>
            </a:xfrm>
          </p:grpSpPr>
          <p:sp>
            <p:nvSpPr>
              <p:cNvPr id="15" name="Freihandform: Form 32">
                <a:extLst>
                  <a:ext uri="{FF2B5EF4-FFF2-40B4-BE49-F238E27FC236}">
                    <a16:creationId xmlns:a16="http://schemas.microsoft.com/office/drawing/2014/main" id="{B7C0B12B-49BE-7855-18FB-8583C8DD961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 rot="18900000" flipV="1">
                <a:off x="-481151" y="3649708"/>
                <a:ext cx="3478701" cy="2164843"/>
              </a:xfrm>
              <a:custGeom>
                <a:avLst/>
                <a:gdLst>
                  <a:gd name="connsiteX0" fmla="*/ 3478701 w 3478701"/>
                  <a:gd name="connsiteY0" fmla="*/ 2164843 h 2164843"/>
                  <a:gd name="connsiteX1" fmla="*/ 1624733 w 3478701"/>
                  <a:gd name="connsiteY1" fmla="*/ 0 h 2164843"/>
                  <a:gd name="connsiteX2" fmla="*/ 87393 w 3478701"/>
                  <a:gd name="connsiteY2" fmla="*/ 954459 h 2164843"/>
                  <a:gd name="connsiteX3" fmla="*/ 0 w 3478701"/>
                  <a:gd name="connsiteY3" fmla="*/ 1122434 h 2164843"/>
                  <a:gd name="connsiteX4" fmla="*/ 736015 w 3478701"/>
                  <a:gd name="connsiteY4" fmla="*/ 1858449 h 2164843"/>
                  <a:gd name="connsiteX5" fmla="*/ 739424 w 3478701"/>
                  <a:gd name="connsiteY5" fmla="*/ 1842964 h 2164843"/>
                  <a:gd name="connsiteX6" fmla="*/ 1624733 w 3478701"/>
                  <a:gd name="connsiteY6" fmla="*/ 1082422 h 2164843"/>
                  <a:gd name="connsiteX7" fmla="*/ 2551716 w 3478701"/>
                  <a:gd name="connsiteY7" fmla="*/ 2164843 h 216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8701" h="2164843">
                    <a:moveTo>
                      <a:pt x="3478701" y="2164843"/>
                    </a:moveTo>
                    <a:cubicBezTo>
                      <a:pt x="3478701" y="969234"/>
                      <a:pt x="2648651" y="0"/>
                      <a:pt x="1624733" y="0"/>
                    </a:cubicBezTo>
                    <a:cubicBezTo>
                      <a:pt x="984784" y="0"/>
                      <a:pt x="420564" y="378607"/>
                      <a:pt x="87393" y="954459"/>
                    </a:cubicBezTo>
                    <a:lnTo>
                      <a:pt x="0" y="1122434"/>
                    </a:lnTo>
                    <a:lnTo>
                      <a:pt x="736015" y="1858449"/>
                    </a:lnTo>
                    <a:lnTo>
                      <a:pt x="739424" y="1842964"/>
                    </a:lnTo>
                    <a:cubicBezTo>
                      <a:pt x="856791" y="1402344"/>
                      <a:pt x="1208766" y="1082422"/>
                      <a:pt x="1624733" y="1082422"/>
                    </a:cubicBezTo>
                    <a:cubicBezTo>
                      <a:pt x="2136692" y="1082422"/>
                      <a:pt x="2551716" y="1567038"/>
                      <a:pt x="2551716" y="2164843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  <a:lumOff val="50000"/>
                  <a:alpha val="40000"/>
                </a:schemeClr>
              </a:solidFill>
              <a:ln>
                <a:noFill/>
              </a:ln>
              <a:effectLst>
                <a:softEdge rad="3810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de-DE"/>
                </a:defPPr>
              </a:lstStyle>
              <a:p>
                <a:pPr algn="ctr" rtl="0"/>
                <a:endParaRPr lang="de-DE"/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67C78A37-D378-70D3-D6E3-AB9400EB583E}"/>
                  </a:ext>
                </a:extLst>
              </p:cNvPr>
              <p:cNvSpPr/>
              <p:nvPr userDrawn="1"/>
            </p:nvSpPr>
            <p:spPr>
              <a:xfrm rot="13500000" flipV="1">
                <a:off x="1512277" y="2840042"/>
                <a:ext cx="214196" cy="933178"/>
              </a:xfrm>
              <a:prstGeom prst="ellipse">
                <a:avLst/>
              </a:prstGeom>
              <a:solidFill>
                <a:schemeClr val="bg2">
                  <a:lumMod val="90000"/>
                  <a:lumOff val="10000"/>
                </a:schemeClr>
              </a:solidFill>
              <a:ln>
                <a:noFill/>
              </a:ln>
              <a:effectLst>
                <a:innerShdw blurRad="1270000" dist="2540000">
                  <a:schemeClr val="accent1">
                    <a:lumMod val="60000"/>
                    <a:lumOff val="40000"/>
                    <a:alpha val="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</a:lstStyle>
              <a:p>
                <a:pPr algn="ctr" rtl="0"/>
                <a:endParaRPr lang="de-DE"/>
              </a:p>
            </p:txBody>
          </p:sp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2491172-466F-19CC-B639-A1C3CAB1D4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690545" y="4100655"/>
            <a:ext cx="1335600" cy="1262947"/>
            <a:chOff x="10145015" y="2343978"/>
            <a:chExt cx="1335600" cy="1262947"/>
          </a:xfrm>
        </p:grpSpPr>
        <p:sp>
          <p:nvSpPr>
            <p:cNvPr id="18" name="Freihandform: Form 25">
              <a:extLst>
                <a:ext uri="{FF2B5EF4-FFF2-40B4-BE49-F238E27FC236}">
                  <a16:creationId xmlns:a16="http://schemas.microsoft.com/office/drawing/2014/main" id="{45EC885D-265C-397B-5DAF-57A66CDA30B5}"/>
                </a:ext>
              </a:extLst>
            </p:cNvPr>
            <p:cNvSpPr>
              <a:spLocks noChangeAspect="1"/>
            </p:cNvSpPr>
            <p:nvPr/>
          </p:nvSpPr>
          <p:spPr>
            <a:xfrm rot="8100000">
              <a:off x="10400615" y="2343978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80000"/>
                    <a:lumOff val="20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732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601DB21-D937-2F89-DC26-063DFC7800C8}"/>
                </a:ext>
              </a:extLst>
            </p:cNvPr>
            <p:cNvSpPr/>
            <p:nvPr/>
          </p:nvSpPr>
          <p:spPr>
            <a:xfrm rot="13500000">
              <a:off x="10415015" y="21798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  <a:gs pos="0">
                  <a:schemeClr val="bg2">
                    <a:lumMod val="75000"/>
                    <a:lumOff val="25000"/>
                    <a:alpha val="33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58332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076C4EAC-BBDE-1963-BD72-3BD2A47DC5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4045464"/>
            <a:ext cx="11115355" cy="2286000"/>
          </a:xfrm>
        </p:spPr>
        <p:txBody>
          <a:bodyPr rtlCol="0" anchor="ctr">
            <a:noAutofit/>
          </a:bodyPr>
          <a:lstStyle>
            <a:lvl1pPr algn="l">
              <a:defRPr lang="de-DE" sz="5400"/>
            </a:lvl1pPr>
          </a:lstStyle>
          <a:p>
            <a:pPr rtl="0"/>
            <a:r>
              <a:rPr lang="de-DE"/>
              <a:t>Titel durch Klicken hinzufüg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592AF4F-2F83-7005-B3AC-6FCC7FB191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4594"/>
            <a:ext cx="12192000" cy="3771878"/>
          </a:xfrm>
        </p:spPr>
        <p:txBody>
          <a:bodyPr rtlCol="0">
            <a:noAutofit/>
          </a:bodyPr>
          <a:lstStyle>
            <a:lvl1pPr marL="0" indent="0" algn="ctr">
              <a:buNone/>
              <a:defRPr lang="de-DE" sz="2000"/>
            </a:lvl1pPr>
          </a:lstStyle>
          <a:p>
            <a:pPr rtl="0"/>
            <a:r>
              <a:rPr lang="de-DE"/>
              <a:t>Bild durch Klicken auf Symbol hinzufügen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57BF9F63-86BE-5515-AD3C-59481B3FF4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1225773" y="385222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4EBDB20-061D-44F3-9978-D0BAB65181FE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CBD12358-51D2-46B3-9BDE-DF29528B945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8997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 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87E98C0-6053-9701-92D0-4EF9ADBC5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 flipV="1">
            <a:off x="9063019" y="746716"/>
            <a:ext cx="3597052" cy="2615018"/>
            <a:chOff x="4541453" y="3199533"/>
            <a:chExt cx="3597052" cy="2615018"/>
          </a:xfrm>
        </p:grpSpPr>
        <p:sp>
          <p:nvSpPr>
            <p:cNvPr id="8" name="Freihandform: Form 38">
              <a:extLst>
                <a:ext uri="{FF2B5EF4-FFF2-40B4-BE49-F238E27FC236}">
                  <a16:creationId xmlns:a16="http://schemas.microsoft.com/office/drawing/2014/main" id="{C32B1A1D-760B-9D3D-A869-E50FC962A629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4602175" y="3958416"/>
              <a:ext cx="3536330" cy="1853969"/>
            </a:xfrm>
            <a:custGeom>
              <a:avLst/>
              <a:gdLst>
                <a:gd name="connsiteX0" fmla="*/ 3536330 w 3536330"/>
                <a:gd name="connsiteY0" fmla="*/ 1853969 h 1853969"/>
                <a:gd name="connsiteX1" fmla="*/ 1682362 w 3536330"/>
                <a:gd name="connsiteY1" fmla="*/ 0 h 1853969"/>
                <a:gd name="connsiteX2" fmla="*/ 52157 w 3536330"/>
                <a:gd name="connsiteY2" fmla="*/ 970257 h 1853969"/>
                <a:gd name="connsiteX3" fmla="*/ 0 w 3536330"/>
                <a:gd name="connsiteY3" fmla="*/ 1078528 h 1853969"/>
                <a:gd name="connsiteX4" fmla="*/ 757215 w 3536330"/>
                <a:gd name="connsiteY4" fmla="*/ 1835743 h 1853969"/>
                <a:gd name="connsiteX5" fmla="*/ 774211 w 3536330"/>
                <a:gd name="connsiteY5" fmla="*/ 1667149 h 1853969"/>
                <a:gd name="connsiteX6" fmla="*/ 1682362 w 3536330"/>
                <a:gd name="connsiteY6" fmla="*/ 926985 h 1853969"/>
                <a:gd name="connsiteX7" fmla="*/ 2609345 w 3536330"/>
                <a:gd name="connsiteY7" fmla="*/ 1853969 h 185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36330" h="1853969">
                  <a:moveTo>
                    <a:pt x="3536330" y="1853969"/>
                  </a:moveTo>
                  <a:cubicBezTo>
                    <a:pt x="3536330" y="830051"/>
                    <a:pt x="2706280" y="0"/>
                    <a:pt x="1682362" y="0"/>
                  </a:cubicBezTo>
                  <a:cubicBezTo>
                    <a:pt x="978418" y="0"/>
                    <a:pt x="366107" y="392328"/>
                    <a:pt x="52157" y="970257"/>
                  </a:cubicBezTo>
                  <a:lnTo>
                    <a:pt x="0" y="1078528"/>
                  </a:lnTo>
                  <a:lnTo>
                    <a:pt x="757215" y="1835743"/>
                  </a:lnTo>
                  <a:lnTo>
                    <a:pt x="774211" y="1667149"/>
                  </a:lnTo>
                  <a:cubicBezTo>
                    <a:pt x="860649" y="1244739"/>
                    <a:pt x="1234397" y="926985"/>
                    <a:pt x="1682362" y="926985"/>
                  </a:cubicBezTo>
                  <a:cubicBezTo>
                    <a:pt x="2194320" y="926985"/>
                    <a:pt x="2609345" y="1342010"/>
                    <a:pt x="2609345" y="1853969"/>
                  </a:cubicBezTo>
                  <a:close/>
                </a:path>
              </a:pathLst>
            </a:custGeom>
            <a:gradFill flip="none" rotWithShape="1">
              <a:gsLst>
                <a:gs pos="97000">
                  <a:schemeClr val="bg2"/>
                </a:gs>
                <a:gs pos="31000">
                  <a:schemeClr val="bg2">
                    <a:lumMod val="90000"/>
                    <a:lumOff val="10000"/>
                  </a:schemeClr>
                </a:gs>
              </a:gsLst>
              <a:lin ang="15000000" scaled="0"/>
              <a:tileRect/>
            </a:gradFill>
            <a:ln>
              <a:noFill/>
            </a:ln>
            <a:effectLst>
              <a:innerShdw blurRad="355600" dist="101600" dir="16200000">
                <a:schemeClr val="accent1">
                  <a:lumMod val="60000"/>
                  <a:lumOff val="40000"/>
                  <a:alpha val="8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D02EF78B-5BDF-8632-B9B1-087DB042EEC7}"/>
                </a:ext>
              </a:extLst>
            </p:cNvPr>
            <p:cNvGrpSpPr/>
            <p:nvPr/>
          </p:nvGrpSpPr>
          <p:grpSpPr>
            <a:xfrm>
              <a:off x="4541453" y="3199533"/>
              <a:ext cx="3478701" cy="2615018"/>
              <a:chOff x="-481151" y="3199533"/>
              <a:chExt cx="3478701" cy="2615018"/>
            </a:xfrm>
          </p:grpSpPr>
          <p:sp>
            <p:nvSpPr>
              <p:cNvPr id="10" name="Freihandform: Form 32">
                <a:extLst>
                  <a:ext uri="{FF2B5EF4-FFF2-40B4-BE49-F238E27FC236}">
                    <a16:creationId xmlns:a16="http://schemas.microsoft.com/office/drawing/2014/main" id="{5C54B3E8-515B-0865-9321-DB3793A62240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 rot="18900000" flipV="1">
                <a:off x="-481151" y="3649708"/>
                <a:ext cx="3478701" cy="2164843"/>
              </a:xfrm>
              <a:custGeom>
                <a:avLst/>
                <a:gdLst>
                  <a:gd name="connsiteX0" fmla="*/ 3478701 w 3478701"/>
                  <a:gd name="connsiteY0" fmla="*/ 2164843 h 2164843"/>
                  <a:gd name="connsiteX1" fmla="*/ 1624733 w 3478701"/>
                  <a:gd name="connsiteY1" fmla="*/ 0 h 2164843"/>
                  <a:gd name="connsiteX2" fmla="*/ 87393 w 3478701"/>
                  <a:gd name="connsiteY2" fmla="*/ 954459 h 2164843"/>
                  <a:gd name="connsiteX3" fmla="*/ 0 w 3478701"/>
                  <a:gd name="connsiteY3" fmla="*/ 1122434 h 2164843"/>
                  <a:gd name="connsiteX4" fmla="*/ 736015 w 3478701"/>
                  <a:gd name="connsiteY4" fmla="*/ 1858449 h 2164843"/>
                  <a:gd name="connsiteX5" fmla="*/ 739424 w 3478701"/>
                  <a:gd name="connsiteY5" fmla="*/ 1842964 h 2164843"/>
                  <a:gd name="connsiteX6" fmla="*/ 1624733 w 3478701"/>
                  <a:gd name="connsiteY6" fmla="*/ 1082422 h 2164843"/>
                  <a:gd name="connsiteX7" fmla="*/ 2551716 w 3478701"/>
                  <a:gd name="connsiteY7" fmla="*/ 2164843 h 216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78701" h="2164843">
                    <a:moveTo>
                      <a:pt x="3478701" y="2164843"/>
                    </a:moveTo>
                    <a:cubicBezTo>
                      <a:pt x="3478701" y="969234"/>
                      <a:pt x="2648651" y="0"/>
                      <a:pt x="1624733" y="0"/>
                    </a:cubicBezTo>
                    <a:cubicBezTo>
                      <a:pt x="984784" y="0"/>
                      <a:pt x="420564" y="378607"/>
                      <a:pt x="87393" y="954459"/>
                    </a:cubicBezTo>
                    <a:lnTo>
                      <a:pt x="0" y="1122434"/>
                    </a:lnTo>
                    <a:lnTo>
                      <a:pt x="736015" y="1858449"/>
                    </a:lnTo>
                    <a:lnTo>
                      <a:pt x="739424" y="1842964"/>
                    </a:lnTo>
                    <a:cubicBezTo>
                      <a:pt x="856791" y="1402344"/>
                      <a:pt x="1208766" y="1082422"/>
                      <a:pt x="1624733" y="1082422"/>
                    </a:cubicBezTo>
                    <a:cubicBezTo>
                      <a:pt x="2136692" y="1082422"/>
                      <a:pt x="2551716" y="1567038"/>
                      <a:pt x="2551716" y="2164843"/>
                    </a:cubicBezTo>
                    <a:close/>
                  </a:path>
                </a:pathLst>
              </a:custGeom>
              <a:solidFill>
                <a:schemeClr val="bg2">
                  <a:lumMod val="50000"/>
                  <a:lumOff val="50000"/>
                  <a:alpha val="40000"/>
                </a:schemeClr>
              </a:solidFill>
              <a:ln>
                <a:noFill/>
              </a:ln>
              <a:effectLst>
                <a:softEdge rad="3810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de-DE"/>
                </a:defPPr>
              </a:lstStyle>
              <a:p>
                <a:pPr algn="ctr" rtl="0"/>
                <a:endParaRPr lang="de-DE"/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56E92718-2CCD-B15D-8DE5-46285BEA256B}"/>
                  </a:ext>
                </a:extLst>
              </p:cNvPr>
              <p:cNvSpPr/>
              <p:nvPr userDrawn="1"/>
            </p:nvSpPr>
            <p:spPr>
              <a:xfrm rot="13500000" flipV="1">
                <a:off x="1512277" y="2840042"/>
                <a:ext cx="214196" cy="933178"/>
              </a:xfrm>
              <a:prstGeom prst="ellipse">
                <a:avLst/>
              </a:prstGeom>
              <a:solidFill>
                <a:schemeClr val="bg2">
                  <a:lumMod val="90000"/>
                  <a:lumOff val="10000"/>
                </a:schemeClr>
              </a:solidFill>
              <a:ln>
                <a:noFill/>
              </a:ln>
              <a:effectLst>
                <a:innerShdw blurRad="1270000" dist="2540000">
                  <a:schemeClr val="accent1">
                    <a:lumMod val="60000"/>
                    <a:lumOff val="40000"/>
                    <a:alpha val="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</a:lstStyle>
              <a:p>
                <a:pPr algn="ctr" rtl="0"/>
                <a:endParaRPr lang="de-DE"/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EA0B78B-84F0-8B85-40E8-678689DC1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723112" y="5088958"/>
            <a:ext cx="1335600" cy="1262947"/>
            <a:chOff x="10145015" y="2343978"/>
            <a:chExt cx="1335600" cy="1262947"/>
          </a:xfrm>
        </p:grpSpPr>
        <p:sp>
          <p:nvSpPr>
            <p:cNvPr id="20" name="Freihandform: Form 25">
              <a:extLst>
                <a:ext uri="{FF2B5EF4-FFF2-40B4-BE49-F238E27FC236}">
                  <a16:creationId xmlns:a16="http://schemas.microsoft.com/office/drawing/2014/main" id="{2E5D7C6F-BF77-9B7D-5B12-7AF3ED280B43}"/>
                </a:ext>
              </a:extLst>
            </p:cNvPr>
            <p:cNvSpPr>
              <a:spLocks noChangeAspect="1"/>
            </p:cNvSpPr>
            <p:nvPr/>
          </p:nvSpPr>
          <p:spPr>
            <a:xfrm rot="8100000">
              <a:off x="10400615" y="2343978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80000"/>
                    <a:lumOff val="20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732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FA599EE6-2673-0AD8-EAE0-45C79326015E}"/>
                </a:ext>
              </a:extLst>
            </p:cNvPr>
            <p:cNvSpPr/>
            <p:nvPr/>
          </p:nvSpPr>
          <p:spPr>
            <a:xfrm rot="13500000">
              <a:off x="10415015" y="21798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  <a:gs pos="0">
                  <a:schemeClr val="bg2">
                    <a:lumMod val="75000"/>
                    <a:lumOff val="25000"/>
                    <a:alpha val="33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BDBC526-6DCD-4FF6-8395-D8C22E46E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13998" y="5334748"/>
            <a:ext cx="678135" cy="990000"/>
            <a:chOff x="10490969" y="1448827"/>
            <a:chExt cx="678135" cy="990000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2ECB475-568C-47AC-B16D-2E202DEB2DE0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68976" y="1743588"/>
              <a:ext cx="926985" cy="463493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127000" dist="50800" dir="13500000">
                <a:schemeClr val="accent1">
                  <a:lumMod val="40000"/>
                  <a:lumOff val="6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80D8764-525A-441E-B58F-068E82F09714}"/>
                </a:ext>
              </a:extLst>
            </p:cNvPr>
            <p:cNvSpPr/>
            <p:nvPr/>
          </p:nvSpPr>
          <p:spPr>
            <a:xfrm rot="8100000" flipH="1" flipV="1">
              <a:off x="11115555" y="1939340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1196109-6F2B-4738-B2FC-2CCC753AABD4}"/>
                </a:ext>
              </a:extLst>
            </p:cNvPr>
            <p:cNvSpPr/>
            <p:nvPr/>
          </p:nvSpPr>
          <p:spPr>
            <a:xfrm rot="8100000" flipH="1" flipV="1">
              <a:off x="10625042" y="1448827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7E468C2-69B8-470B-85E3-801A3CB1D7E2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92519" y="1686748"/>
              <a:ext cx="926985" cy="530086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20000"/>
              </a:schemeClr>
            </a:solidFill>
            <a:ln>
              <a:noFill/>
            </a:ln>
            <a:effectLst>
              <a:softEdge rad="1016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1A4B040-51E3-4DA0-B21D-EEE173E753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98474"/>
            <a:ext cx="7960421" cy="1450217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de-DE" sz="4000" dirty="0"/>
            </a:lvl1pPr>
          </a:lstStyle>
          <a:p>
            <a:pPr lvl="0" rtl="0">
              <a:lnSpc>
                <a:spcPct val="100000"/>
              </a:lnSpc>
            </a:pPr>
            <a:r>
              <a:rPr lang="de-DE"/>
              <a:t>Titel durch Klicken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A2CD90-429B-4A55-B6C8-DD6CE69941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1343" y="2103039"/>
            <a:ext cx="7929940" cy="3979625"/>
          </a:xfrm>
        </p:spPr>
        <p:txBody>
          <a:bodyPr rtlCol="0">
            <a:normAutofit/>
          </a:bodyPr>
          <a:lstStyle>
            <a:lvl1pPr>
              <a:defRPr lang="de-DE" sz="1800">
                <a:solidFill>
                  <a:schemeClr val="tx1"/>
                </a:solidFill>
              </a:defRPr>
            </a:lvl1pPr>
            <a:lvl2pPr>
              <a:defRPr lang="de-DE" sz="1200">
                <a:solidFill>
                  <a:schemeClr val="tx1"/>
                </a:solidFill>
              </a:defRPr>
            </a:lvl2pPr>
            <a:lvl3pPr>
              <a:defRPr lang="de-DE" sz="1200">
                <a:solidFill>
                  <a:schemeClr val="tx1"/>
                </a:solidFill>
              </a:defRPr>
            </a:lvl3pPr>
            <a:lvl4pPr>
              <a:defRPr lang="de-DE" sz="1200">
                <a:solidFill>
                  <a:schemeClr val="tx1"/>
                </a:solidFill>
              </a:defRPr>
            </a:lvl4pPr>
            <a:lvl5pPr>
              <a:defRPr lang="de-DE" sz="12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4EE704-5DCA-484E-85E0-0E3A7B1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C0C4D2CC-3E2C-4C5F-9183-4302F46A317D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A69B66-1C18-44A2-93F7-97DED26F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44B5A0-66FA-433A-8DC5-C097C63B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994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 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llipse 21">
            <a:extLst>
              <a:ext uri="{FF2B5EF4-FFF2-40B4-BE49-F238E27FC236}">
                <a16:creationId xmlns:a16="http://schemas.microsoft.com/office/drawing/2014/main" id="{94729CA3-91C4-4A89-9448-A2F0E4091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1069864" y="33337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68347B7-45FA-4A01-924D-DC385B720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1786" y="5528198"/>
            <a:ext cx="631474" cy="667800"/>
            <a:chOff x="2994153" y="1378666"/>
            <a:chExt cx="631474" cy="667800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1167DA1-25D1-4E60-A62E-42B6F56A96E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3039890" y="1332929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6B7B7215-A661-477E-91D0-CDBE5564D2B9}"/>
                </a:ext>
              </a:extLst>
            </p:cNvPr>
            <p:cNvSpPr/>
            <p:nvPr/>
          </p:nvSpPr>
          <p:spPr>
            <a:xfrm rot="8100000">
              <a:off x="3047090" y="1506466"/>
              <a:ext cx="270000" cy="54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978E540-142B-4A82-9C3F-E61BC190A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08635"/>
            <a:ext cx="11090274" cy="1332000"/>
          </a:xfrm>
        </p:spPr>
        <p:txBody>
          <a:bodyPr rtlCol="0">
            <a:normAutofit/>
          </a:bodyPr>
          <a:lstStyle>
            <a:lvl1pPr>
              <a:lnSpc>
                <a:spcPct val="100000"/>
              </a:lnSpc>
              <a:defRPr lang="de-DE" sz="4000"/>
            </a:lvl1pPr>
          </a:lstStyle>
          <a:p>
            <a:pPr rtl="0"/>
            <a:r>
              <a:rPr lang="de-DE"/>
              <a:t>Titel durch Klicken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C6BF36-D4F5-4363-B440-BDAE50BBD4B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50862" y="2097175"/>
            <a:ext cx="5435600" cy="3995650"/>
          </a:xfrm>
        </p:spPr>
        <p:txBody>
          <a:bodyPr rtlCol="0">
            <a:normAutofit/>
          </a:bodyPr>
          <a:lstStyle>
            <a:lvl1pPr marL="0" indent="0">
              <a:spcBef>
                <a:spcPts val="1000"/>
              </a:spcBef>
              <a:buNone/>
              <a:defRPr lang="de-DE" sz="1800">
                <a:solidFill>
                  <a:schemeClr val="tx1"/>
                </a:solidFill>
              </a:defRPr>
            </a:lvl1pPr>
            <a:lvl2pPr marL="22860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2pPr>
            <a:lvl3pPr marL="411480" indent="-22860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3pPr>
            <a:lvl4pPr marL="59436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4pPr>
            <a:lvl5pPr marL="77724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B65629D-0977-C0EA-5E0B-C4822F43DAE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05540" y="2097175"/>
            <a:ext cx="5435600" cy="3995650"/>
          </a:xfrm>
        </p:spPr>
        <p:txBody>
          <a:bodyPr rtlCol="0">
            <a:normAutofit/>
          </a:bodyPr>
          <a:lstStyle>
            <a:lvl1pPr marL="0" indent="0">
              <a:spcBef>
                <a:spcPts val="1000"/>
              </a:spcBef>
              <a:buNone/>
              <a:defRPr lang="de-DE" sz="1800">
                <a:solidFill>
                  <a:schemeClr val="tx1"/>
                </a:solidFill>
              </a:defRPr>
            </a:lvl1pPr>
            <a:lvl2pPr marL="22860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2pPr>
            <a:lvl3pPr marL="411480" indent="-22860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3pPr>
            <a:lvl4pPr marL="59436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4pPr>
            <a:lvl5pPr marL="777240">
              <a:spcBef>
                <a:spcPts val="1000"/>
              </a:spcBef>
              <a:defRPr lang="de-DE" sz="18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99A8AF-0998-4613-B1D8-C14ECBFFD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0BFDFFE3-36CB-4F83-BF55-A820CB693665}" type="datetime1">
              <a:rPr lang="de-DE" smtClean="0"/>
              <a:t>22.06.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6E44EAA-B8A9-4428-A9DF-1174DA94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E5C381-C899-4BF9-B584-2D78074D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119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llipse 21">
            <a:extLst>
              <a:ext uri="{FF2B5EF4-FFF2-40B4-BE49-F238E27FC236}">
                <a16:creationId xmlns:a16="http://schemas.microsoft.com/office/drawing/2014/main" id="{94729CA3-91C4-4A89-9448-A2F0E4091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1069864" y="33337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78E540-142B-4A82-9C3F-E61BC190A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88315"/>
            <a:ext cx="11090274" cy="1332000"/>
          </a:xfrm>
        </p:spPr>
        <p:txBody>
          <a:bodyPr rtlCol="0">
            <a:normAutofit/>
          </a:bodyPr>
          <a:lstStyle>
            <a:lvl1pPr>
              <a:lnSpc>
                <a:spcPct val="100000"/>
              </a:lnSpc>
              <a:defRPr lang="de-DE" sz="4000"/>
            </a:lvl1pPr>
          </a:lstStyle>
          <a:p>
            <a:pPr rtl="0"/>
            <a:r>
              <a:rPr lang="de-DE"/>
              <a:t>Titel durch Klicken hinzufüge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EFC6ED4-22DD-0C3B-D15A-218307AB6D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379261" y="2030035"/>
            <a:ext cx="1335600" cy="1262947"/>
            <a:chOff x="10145015" y="2343978"/>
            <a:chExt cx="1335600" cy="1262947"/>
          </a:xfrm>
        </p:grpSpPr>
        <p:sp>
          <p:nvSpPr>
            <p:cNvPr id="12" name="Freihandform: Form 25">
              <a:extLst>
                <a:ext uri="{FF2B5EF4-FFF2-40B4-BE49-F238E27FC236}">
                  <a16:creationId xmlns:a16="http://schemas.microsoft.com/office/drawing/2014/main" id="{E4CD0F67-4BE8-1120-FCAE-806F9E18DD58}"/>
                </a:ext>
              </a:extLst>
            </p:cNvPr>
            <p:cNvSpPr>
              <a:spLocks noChangeAspect="1"/>
            </p:cNvSpPr>
            <p:nvPr/>
          </p:nvSpPr>
          <p:spPr>
            <a:xfrm rot="8100000">
              <a:off x="10400615" y="2343978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80000"/>
                    <a:lumOff val="20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732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59B74B85-E3CB-E24E-54C6-AB161411D93A}"/>
                </a:ext>
              </a:extLst>
            </p:cNvPr>
            <p:cNvSpPr/>
            <p:nvPr/>
          </p:nvSpPr>
          <p:spPr>
            <a:xfrm rot="13500000">
              <a:off x="10415015" y="21798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  <a:gs pos="0">
                  <a:schemeClr val="bg2">
                    <a:lumMod val="75000"/>
                    <a:lumOff val="25000"/>
                    <a:alpha val="33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sp>
        <p:nvSpPr>
          <p:cNvPr id="15" name="Freihandform: Form 21">
            <a:extLst>
              <a:ext uri="{FF2B5EF4-FFF2-40B4-BE49-F238E27FC236}">
                <a16:creationId xmlns:a16="http://schemas.microsoft.com/office/drawing/2014/main" id="{5781DEED-6608-D622-CA5E-C91FD8645E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4295775" y="0"/>
            <a:ext cx="360000" cy="274638"/>
          </a:xfrm>
          <a:custGeom>
            <a:avLst/>
            <a:gdLst>
              <a:gd name="connsiteX0" fmla="*/ 30714 w 360000"/>
              <a:gd name="connsiteY0" fmla="*/ 0 h 274638"/>
              <a:gd name="connsiteX1" fmla="*/ 329286 w 360000"/>
              <a:gd name="connsiteY1" fmla="*/ 0 h 274638"/>
              <a:gd name="connsiteX2" fmla="*/ 345855 w 360000"/>
              <a:gd name="connsiteY2" fmla="*/ 24574 h 274638"/>
              <a:gd name="connsiteX3" fmla="*/ 360000 w 360000"/>
              <a:gd name="connsiteY3" fmla="*/ 94638 h 274638"/>
              <a:gd name="connsiteX4" fmla="*/ 180000 w 360000"/>
              <a:gd name="connsiteY4" fmla="*/ 274638 h 274638"/>
              <a:gd name="connsiteX5" fmla="*/ 0 w 360000"/>
              <a:gd name="connsiteY5" fmla="*/ 94638 h 274638"/>
              <a:gd name="connsiteX6" fmla="*/ 14145 w 360000"/>
              <a:gd name="connsiteY6" fmla="*/ 24574 h 27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000" h="274638">
                <a:moveTo>
                  <a:pt x="30714" y="0"/>
                </a:moveTo>
                <a:lnTo>
                  <a:pt x="329286" y="0"/>
                </a:lnTo>
                <a:lnTo>
                  <a:pt x="345855" y="24574"/>
                </a:lnTo>
                <a:cubicBezTo>
                  <a:pt x="354963" y="46109"/>
                  <a:pt x="360000" y="69785"/>
                  <a:pt x="360000" y="94638"/>
                </a:cubicBezTo>
                <a:cubicBezTo>
                  <a:pt x="360000" y="194049"/>
                  <a:pt x="279411" y="274638"/>
                  <a:pt x="180000" y="274638"/>
                </a:cubicBezTo>
                <a:cubicBezTo>
                  <a:pt x="80589" y="274638"/>
                  <a:pt x="0" y="194049"/>
                  <a:pt x="0" y="94638"/>
                </a:cubicBezTo>
                <a:cubicBezTo>
                  <a:pt x="0" y="69785"/>
                  <a:pt x="5037" y="46109"/>
                  <a:pt x="14145" y="24574"/>
                </a:cubicBezTo>
                <a:close/>
              </a:path>
            </a:pathLst>
          </a:cu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68347B7-45FA-4A01-924D-DC385B720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1786" y="5528198"/>
            <a:ext cx="631474" cy="667800"/>
            <a:chOff x="2994153" y="1378666"/>
            <a:chExt cx="631474" cy="667800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1167DA1-25D1-4E60-A62E-42B6F56A96E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3039890" y="1332929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6B7B7215-A661-477E-91D0-CDBE5564D2B9}"/>
                </a:ext>
              </a:extLst>
            </p:cNvPr>
            <p:cNvSpPr/>
            <p:nvPr/>
          </p:nvSpPr>
          <p:spPr>
            <a:xfrm rot="8100000">
              <a:off x="3047090" y="1506466"/>
              <a:ext cx="270000" cy="54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C6BF36-D4F5-4363-B440-BDAE50BBD4B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50862" y="1965095"/>
            <a:ext cx="5435600" cy="3995650"/>
          </a:xfrm>
        </p:spPr>
        <p:txBody>
          <a:bodyPr rtlCol="0">
            <a:normAutofit/>
          </a:bodyPr>
          <a:lstStyle>
            <a:lvl1pPr marL="0" indent="0">
              <a:buNone/>
              <a:defRPr lang="de-DE" sz="1800">
                <a:solidFill>
                  <a:schemeClr val="tx1"/>
                </a:solidFill>
              </a:defRPr>
            </a:lvl1pPr>
            <a:lvl2pPr>
              <a:defRPr lang="de-DE" sz="1800">
                <a:solidFill>
                  <a:schemeClr val="tx1"/>
                </a:solidFill>
              </a:defRPr>
            </a:lvl2pPr>
            <a:lvl3pPr>
              <a:defRPr lang="de-DE" sz="1800">
                <a:solidFill>
                  <a:schemeClr val="tx1"/>
                </a:solidFill>
              </a:defRPr>
            </a:lvl3pPr>
            <a:lvl4pPr>
              <a:defRPr lang="de-DE" sz="1800">
                <a:solidFill>
                  <a:schemeClr val="tx1"/>
                </a:solidFill>
              </a:defRPr>
            </a:lvl4pPr>
            <a:lvl5pPr>
              <a:defRPr lang="de-DE" sz="18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4B946DE-F802-2F36-2789-09D7F86040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01305" y="1965095"/>
            <a:ext cx="5339397" cy="3995650"/>
          </a:xfrm>
        </p:spPr>
        <p:txBody>
          <a:bodyPr rtlCol="0">
            <a:normAutofit/>
          </a:bodyPr>
          <a:lstStyle>
            <a:lvl1pPr marL="0" indent="0">
              <a:buNone/>
              <a:defRPr lang="de-DE" sz="1800">
                <a:solidFill>
                  <a:schemeClr val="tx1"/>
                </a:solidFill>
              </a:defRPr>
            </a:lvl1pPr>
            <a:lvl2pPr>
              <a:defRPr lang="de-DE" sz="1800">
                <a:solidFill>
                  <a:schemeClr val="tx1"/>
                </a:solidFill>
              </a:defRPr>
            </a:lvl2pPr>
            <a:lvl3pPr>
              <a:defRPr lang="de-DE" sz="1800">
                <a:solidFill>
                  <a:schemeClr val="tx1"/>
                </a:solidFill>
              </a:defRPr>
            </a:lvl3pPr>
            <a:lvl4pPr>
              <a:defRPr lang="de-DE" sz="1800">
                <a:solidFill>
                  <a:schemeClr val="tx1"/>
                </a:solidFill>
              </a:defRPr>
            </a:lvl4pPr>
            <a:lvl5pPr>
              <a:defRPr lang="de-DE" sz="18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99A8AF-0998-4613-B1D8-C14ECBFFD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90B90845-F5B6-480A-A82A-92FCD40A60C1}" type="datetime1">
              <a:rPr lang="de-DE" smtClean="0"/>
              <a:t>22.06.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6E44EAA-B8A9-4428-A9DF-1174DA94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E5C381-C899-4BF9-B584-2D78074D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165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emerk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E57989ED-9663-5033-AA83-267069FC5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5303845" y="5427212"/>
            <a:ext cx="1080000" cy="108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>
                  <a:lumMod val="10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254000" dist="127000" dir="2700000">
              <a:schemeClr val="accent1">
                <a:lumMod val="60000"/>
                <a:lumOff val="40000"/>
                <a:alpha val="4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A4B040-51E3-4DA0-B21D-EEE173E753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536" y="549274"/>
            <a:ext cx="5179330" cy="2841829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de-DE" sz="5400" dirty="0"/>
            </a:lvl1pPr>
          </a:lstStyle>
          <a:p>
            <a:pPr lvl="0" rtl="0">
              <a:lnSpc>
                <a:spcPct val="100000"/>
              </a:lnSpc>
            </a:pPr>
            <a:r>
              <a:rPr lang="de-DE"/>
              <a:t>Titel durch Klicken hinzufü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A2CD90-429B-4A55-B6C8-DD6CE69941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537" y="3646704"/>
            <a:ext cx="5179330" cy="2706160"/>
          </a:xfrm>
        </p:spPr>
        <p:txBody>
          <a:bodyPr rtlCol="0">
            <a:normAutofit/>
          </a:bodyPr>
          <a:lstStyle>
            <a:lvl1pPr marL="0" indent="0">
              <a:spcBef>
                <a:spcPts val="1000"/>
              </a:spcBef>
              <a:buNone/>
              <a:defRPr lang="de-DE" sz="1800">
                <a:solidFill>
                  <a:schemeClr val="tx1"/>
                </a:solidFill>
              </a:defRPr>
            </a:lvl1pPr>
            <a:lvl2pPr marL="457200" indent="0">
              <a:spcBef>
                <a:spcPts val="1000"/>
              </a:spcBef>
              <a:buNone/>
              <a:defRPr lang="de-DE" sz="1200">
                <a:solidFill>
                  <a:schemeClr val="tx1"/>
                </a:solidFill>
              </a:defRPr>
            </a:lvl2pPr>
            <a:lvl3pPr marL="914400" indent="0">
              <a:spcBef>
                <a:spcPts val="1000"/>
              </a:spcBef>
              <a:buNone/>
              <a:defRPr lang="de-DE" sz="1200">
                <a:solidFill>
                  <a:schemeClr val="tx1"/>
                </a:solidFill>
              </a:defRPr>
            </a:lvl3pPr>
            <a:lvl4pPr marL="1371600" indent="0">
              <a:spcBef>
                <a:spcPts val="1000"/>
              </a:spcBef>
              <a:buNone/>
              <a:defRPr lang="de-DE" sz="1200">
                <a:solidFill>
                  <a:schemeClr val="tx1"/>
                </a:solidFill>
              </a:defRPr>
            </a:lvl4pPr>
            <a:lvl5pPr marL="1828800" indent="0">
              <a:spcBef>
                <a:spcPts val="1000"/>
              </a:spcBef>
              <a:buNone/>
              <a:defRPr lang="de-DE" sz="12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-DE"/>
              <a:t>Inhalt durch Klicken hinzuzufüg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5392876F-0BBD-F80A-DE7F-8831AD3BF3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26138" y="549275"/>
            <a:ext cx="5654675" cy="5788025"/>
          </a:xfrm>
        </p:spPr>
        <p:txBody>
          <a:bodyPr rtlCol="0">
            <a:normAutofit/>
          </a:bodyPr>
          <a:lstStyle>
            <a:lvl1pPr marL="0" indent="0" algn="ctr">
              <a:buNone/>
              <a:defRPr lang="de-DE" sz="2000">
                <a:solidFill>
                  <a:schemeClr val="tx1"/>
                </a:solidFill>
              </a:defRPr>
            </a:lvl1pPr>
          </a:lstStyle>
          <a:p>
            <a:pPr rtl="0"/>
            <a:r>
              <a:rPr lang="de-DE"/>
              <a:t>Bild durch Klicken auf Symbol hinzufüg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4E08E8E-10CB-55BC-8AFF-E64C800B9F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94036" y="5610392"/>
            <a:ext cx="667802" cy="631474"/>
            <a:chOff x="10478914" y="1506691"/>
            <a:chExt cx="667802" cy="631474"/>
          </a:xfrm>
        </p:grpSpPr>
        <p:sp>
          <p:nvSpPr>
            <p:cNvPr id="10" name="Freihandform: Form 15">
              <a:extLst>
                <a:ext uri="{FF2B5EF4-FFF2-40B4-BE49-F238E27FC236}">
                  <a16:creationId xmlns:a16="http://schemas.microsoft.com/office/drawing/2014/main" id="{B439260B-AC6B-1C83-1A63-058A7E7EFCC9}"/>
                </a:ext>
              </a:extLst>
            </p:cNvPr>
            <p:cNvSpPr>
              <a:spLocks noChangeAspect="1"/>
            </p:cNvSpPr>
            <p:nvPr/>
          </p:nvSpPr>
          <p:spPr>
            <a:xfrm rot="8100000">
              <a:off x="10606715" y="1506691"/>
              <a:ext cx="540001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80000"/>
                    <a:lumOff val="20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101600" dist="50800" dir="732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4ADD32DC-9BAF-DA32-4E29-A6D403E04377}"/>
                </a:ext>
              </a:extLst>
            </p:cNvPr>
            <p:cNvSpPr/>
            <p:nvPr/>
          </p:nvSpPr>
          <p:spPr>
            <a:xfrm rot="13500000">
              <a:off x="10613915" y="1424627"/>
              <a:ext cx="270000" cy="540001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BDBC526-6DCD-4FF6-8395-D8C22E46E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13998" y="5334748"/>
            <a:ext cx="678135" cy="990000"/>
            <a:chOff x="10490969" y="1448827"/>
            <a:chExt cx="678135" cy="990000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2ECB475-568C-47AC-B16D-2E202DEB2DE0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68976" y="1743588"/>
              <a:ext cx="926985" cy="463493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127000" dist="50800" dir="13500000">
                <a:schemeClr val="accent1">
                  <a:lumMod val="40000"/>
                  <a:lumOff val="6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80D8764-525A-441E-B58F-068E82F09714}"/>
                </a:ext>
              </a:extLst>
            </p:cNvPr>
            <p:cNvSpPr/>
            <p:nvPr/>
          </p:nvSpPr>
          <p:spPr>
            <a:xfrm rot="8100000" flipH="1" flipV="1">
              <a:off x="11115555" y="1939340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1196109-6F2B-4738-B2FC-2CCC753AABD4}"/>
                </a:ext>
              </a:extLst>
            </p:cNvPr>
            <p:cNvSpPr/>
            <p:nvPr/>
          </p:nvSpPr>
          <p:spPr>
            <a:xfrm rot="8100000" flipH="1" flipV="1">
              <a:off x="10625042" y="1448827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7E468C2-69B8-470B-85E3-801A3CB1D7E2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92519" y="1686748"/>
              <a:ext cx="926985" cy="530086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20000"/>
              </a:schemeClr>
            </a:solidFill>
            <a:ln>
              <a:noFill/>
            </a:ln>
            <a:effectLst>
              <a:softEdge rad="1016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4EE704-5DCA-484E-85E0-0E3A7B1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CDA08283-6C01-4BB7-BD0A-D9DD55A4F497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A69B66-1C18-44A2-93F7-97DED26F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44B5A0-66FA-433A-8DC5-C097C63B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6071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577394-0A20-4CF6-9066-CFC2C1C9D3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9149" y="389840"/>
            <a:ext cx="8281987" cy="2954655"/>
          </a:xfrm>
        </p:spPr>
        <p:txBody>
          <a:bodyPr rtlCol="0" anchor="t" anchorCtr="0">
            <a:normAutofit/>
          </a:bodyPr>
          <a:lstStyle>
            <a:lvl1pPr algn="l">
              <a:lnSpc>
                <a:spcPct val="100000"/>
              </a:lnSpc>
              <a:defRPr lang="de-DE" sz="6400"/>
            </a:lvl1pPr>
          </a:lstStyle>
          <a:p>
            <a:pPr rtl="0"/>
            <a:r>
              <a:rPr lang="de-DE"/>
              <a:t>Titel durch Klicken hinzufüg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F10971F-8922-4B23-9C80-0643D7E350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9149" y="3536951"/>
            <a:ext cx="8281989" cy="2555874"/>
          </a:xfrm>
        </p:spPr>
        <p:txBody>
          <a:bodyPr rtlCol="0">
            <a:normAutofit/>
          </a:bodyPr>
          <a:lstStyle>
            <a:lvl1pPr marL="0" indent="0" algn="l">
              <a:lnSpc>
                <a:spcPct val="100000"/>
              </a:lnSpc>
              <a:buNone/>
              <a:defRPr lang="de-DE" sz="2400">
                <a:solidFill>
                  <a:schemeClr val="tx1"/>
                </a:solidFill>
              </a:defRPr>
            </a:lvl1pPr>
            <a:lvl2pPr marL="457200" indent="0" algn="ctr">
              <a:buNone/>
              <a:defRPr lang="de-DE" sz="2000"/>
            </a:lvl2pPr>
            <a:lvl3pPr marL="914400" indent="0" algn="ctr">
              <a:buNone/>
              <a:defRPr lang="de-DE" sz="1800"/>
            </a:lvl3pPr>
            <a:lvl4pPr marL="1371600" indent="0" algn="ctr">
              <a:buNone/>
              <a:defRPr lang="de-DE" sz="1600"/>
            </a:lvl4pPr>
            <a:lvl5pPr marL="1828800" indent="0" algn="ctr">
              <a:buNone/>
              <a:defRPr lang="de-DE" sz="1600"/>
            </a:lvl5pPr>
            <a:lvl6pPr marL="2286000" indent="0" algn="ctr">
              <a:buNone/>
              <a:defRPr lang="de-DE" sz="1600"/>
            </a:lvl6pPr>
            <a:lvl7pPr marL="2743200" indent="0" algn="ctr">
              <a:buNone/>
              <a:defRPr lang="de-DE" sz="1600"/>
            </a:lvl7pPr>
            <a:lvl8pPr marL="3200400" indent="0" algn="ctr">
              <a:buNone/>
              <a:defRPr lang="de-DE" sz="1600"/>
            </a:lvl8pPr>
            <a:lvl9pPr marL="3657600" indent="0" algn="ctr">
              <a:buNone/>
              <a:defRPr lang="de-DE" sz="1600"/>
            </a:lvl9pPr>
          </a:lstStyle>
          <a:p>
            <a:pPr rtl="0"/>
            <a:r>
              <a:rPr lang="de-DE"/>
              <a:t>Untertitel durch Klicken hinzufügen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1BC074-1090-47AF-BDE8-3859BF574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2A569275-BA39-4766-A9A6-6DF2EA04E94C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D6522F-D41A-4734-8BD1-BD6E5A37D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4D4206-406C-42A3-BBD4-44C043180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de-DE"/>
            </a:defPPr>
          </a:lstStyle>
          <a:p>
            <a:pPr rtl="0"/>
            <a:fld id="{DBA1B0FB-D917-4C8C-928F-313BD683BF39}" type="slidenum">
              <a:rPr lang="de-DE" smtClean="0"/>
              <a:t>‹Nr.›</a:t>
            </a:fld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 rot="2700000">
            <a:off x="612445" y="481888"/>
            <a:ext cx="1080000" cy="1262947"/>
          </a:xfrm>
          <a:custGeom>
            <a:avLst/>
            <a:gdLst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0 w 1080000"/>
              <a:gd name="connsiteY9" fmla="*/ 931034 h 1262947"/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540000 w 1080000"/>
              <a:gd name="connsiteY9" fmla="*/ 0 h 1262947"/>
              <a:gd name="connsiteX0" fmla="*/ 540000 w 1080000"/>
              <a:gd name="connsiteY0" fmla="*/ 0 h 1262947"/>
              <a:gd name="connsiteX1" fmla="*/ 1064374 w 1080000"/>
              <a:gd name="connsiteY1" fmla="*/ 931034 h 1262947"/>
              <a:gd name="connsiteX2" fmla="*/ 1069029 w 1080000"/>
              <a:gd name="connsiteY2" fmla="*/ 938533 h 1262947"/>
              <a:gd name="connsiteX3" fmla="*/ 1080000 w 1080000"/>
              <a:gd name="connsiteY3" fmla="*/ 992947 h 1262947"/>
              <a:gd name="connsiteX4" fmla="*/ 540000 w 1080000"/>
              <a:gd name="connsiteY4" fmla="*/ 1262947 h 1262947"/>
              <a:gd name="connsiteX5" fmla="*/ 0 w 1080000"/>
              <a:gd name="connsiteY5" fmla="*/ 992947 h 1262947"/>
              <a:gd name="connsiteX6" fmla="*/ 10971 w 1080000"/>
              <a:gd name="connsiteY6" fmla="*/ 938533 h 1262947"/>
              <a:gd name="connsiteX7" fmla="*/ 15626 w 1080000"/>
              <a:gd name="connsiteY7" fmla="*/ 931034 h 1262947"/>
              <a:gd name="connsiteX8" fmla="*/ 540000 w 1080000"/>
              <a:gd name="connsiteY8" fmla="*/ 0 h 126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</a:lstStyle>
          <a:p>
            <a:pPr algn="ctr" rtl="0"/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36" name="Freihandform: Form 35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</a:lstStyle>
            <a:p>
              <a:pPr algn="ctr" rtl="0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</a:extLst>
            </p:cNvPr>
            <p:cNvSpPr/>
            <p:nvPr/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</a:extLst>
            </p:cNvPr>
            <p:cNvSpPr/>
            <p:nvPr/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</a:lstStyle>
            <a:p>
              <a:pPr algn="ctr" rtl="0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12362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EA7056-3CDF-23D5-1ADA-5DE886157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D905F72-2520-E814-20E5-E6DEE8CB5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85AA70-D2EC-17A7-0F5C-E2C37459F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B0817-7DBE-4E2D-BF03-83AB8112236C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903D84-8E1E-8B71-3A48-5A701E0ED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FD4C25-529B-EEB4-3ACC-B5EF15125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870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6371D24-F41E-D34C-37F4-50629A82F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87422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425" imgH="424" progId="TCLayout.ActiveDocument.1">
                  <p:embed/>
                </p:oleObj>
              </mc:Choice>
              <mc:Fallback>
                <p:oleObj name="think-cell Folie" r:id="rId12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371D24-F41E-D34C-37F4-50629A82F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028302-E866-455D-8898-536230275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11090275" cy="1333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defPPr>
              <a:defRPr lang="de-DE"/>
            </a:defPPr>
          </a:lstStyle>
          <a:p>
            <a:pPr lvl="0" rtl="0">
              <a:lnSpc>
                <a:spcPct val="10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C94E72B-F0CF-4BC4-B509-A1C4508BE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113862"/>
            <a:ext cx="11091600" cy="3978963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defPPr>
              <a:defRPr lang="de-DE"/>
            </a:defPPr>
          </a:lstStyle>
          <a:p>
            <a:pPr lvl="0" rtl="0"/>
            <a:r>
              <a:rPr lang="de-DE"/>
              <a:t>Textmasterformat durch Klicken bearbeiten</a:t>
            </a:r>
          </a:p>
          <a:p>
            <a:pPr lvl="1" rtl="0"/>
            <a:r>
              <a:rPr lang="de-DE"/>
              <a:t>Zweite Ebene</a:t>
            </a:r>
          </a:p>
          <a:p>
            <a:pPr lvl="2" rtl="0"/>
            <a:r>
              <a:rPr lang="de-DE"/>
              <a:t>Dritte Ebene</a:t>
            </a:r>
          </a:p>
          <a:p>
            <a:pPr lvl="3" rtl="0"/>
            <a:r>
              <a:rPr lang="de-DE"/>
              <a:t>Vierte Ebene</a:t>
            </a:r>
          </a:p>
          <a:p>
            <a:pPr lvl="4" rtl="0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CE49D-C22F-4540-AC09-E421D2A2ED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6507212"/>
            <a:ext cx="26289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pPr rtl="0"/>
            <a:fld id="{840494E5-7759-49D7-9AE1-3D7C64B2FEFD}" type="datetime1">
              <a:rPr lang="de-DE" smtClean="0"/>
              <a:t>22.06.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D5C3BE-317E-49E8-82B5-C8A7EC9C8A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9150" y="6507212"/>
            <a:ext cx="637921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pPr rtl="0"/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574E12-6C16-431F-B2CE-E4B15916B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48863" y="6507212"/>
            <a:ext cx="1692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de-DE"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pPr rtl="0"/>
            <a:fld id="{DBA1B0FB-D917-4C8C-928F-313BD683BF39}" type="slidenum">
              <a:rPr lang="de-DE" smtClean="0"/>
              <a:pPr rtl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12557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6" r:id="rId3"/>
    <p:sldLayoutId id="2147483703" r:id="rId4"/>
    <p:sldLayoutId id="2147483704" r:id="rId5"/>
    <p:sldLayoutId id="2147483688" r:id="rId6"/>
    <p:sldLayoutId id="2147483686" r:id="rId7"/>
    <p:sldLayoutId id="2147483685" r:id="rId8"/>
    <p:sldLayoutId id="21474837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4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800"/>
        </a:spcAft>
        <a:buFont typeface="Arial" panose="020B0604020202020204" pitchFamily="34" charset="0"/>
        <a:buChar char="•"/>
        <a:defRPr lang="de-D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de-DE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de-DE"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de-DE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de-DE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de-D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2" pos="3840">
          <p15:clr>
            <a:srgbClr val="F26B43"/>
          </p15:clr>
        </p15:guide>
        <p15:guide id="33" orient="horz" pos="2160">
          <p15:clr>
            <a:srgbClr val="F26B43"/>
          </p15:clr>
        </p15:guide>
        <p15:guide id="34" pos="347">
          <p15:clr>
            <a:srgbClr val="F26B43"/>
          </p15:clr>
        </p15:guide>
        <p15:guide id="35" pos="7333">
          <p15:clr>
            <a:srgbClr val="F26B43"/>
          </p15:clr>
        </p15:guide>
        <p15:guide id="36" orient="horz" pos="346">
          <p15:clr>
            <a:srgbClr val="F26B43"/>
          </p15:clr>
        </p15:guide>
        <p15:guide id="37" orient="horz" pos="3974">
          <p15:clr>
            <a:srgbClr val="F26B43"/>
          </p15:clr>
        </p15:guide>
        <p15:guide id="38" pos="824">
          <p15:clr>
            <a:srgbClr val="A4A3A4"/>
          </p15:clr>
        </p15:guide>
        <p15:guide id="39" pos="937">
          <p15:clr>
            <a:srgbClr val="A4A3A4"/>
          </p15:clr>
        </p15:guide>
        <p15:guide id="40" pos="1413">
          <p15:clr>
            <a:srgbClr val="A4A3A4"/>
          </p15:clr>
        </p15:guide>
        <p15:guide id="41" pos="1527">
          <p15:clr>
            <a:srgbClr val="A4A3A4"/>
          </p15:clr>
        </p15:guide>
        <p15:guide id="42" pos="2003">
          <p15:clr>
            <a:srgbClr val="A4A3A4"/>
          </p15:clr>
        </p15:guide>
        <p15:guide id="43" pos="2116">
          <p15:clr>
            <a:srgbClr val="A4A3A4"/>
          </p15:clr>
        </p15:guide>
        <p15:guide id="44" pos="2593">
          <p15:clr>
            <a:srgbClr val="A4A3A4"/>
          </p15:clr>
        </p15:guide>
        <p15:guide id="45" pos="2706">
          <p15:clr>
            <a:srgbClr val="A4A3A4"/>
          </p15:clr>
        </p15:guide>
        <p15:guide id="46" pos="3182">
          <p15:clr>
            <a:srgbClr val="A4A3A4"/>
          </p15:clr>
        </p15:guide>
        <p15:guide id="47" pos="3318">
          <p15:clr>
            <a:srgbClr val="A4A3A4"/>
          </p15:clr>
        </p15:guide>
        <p15:guide id="48" pos="3772">
          <p15:clr>
            <a:srgbClr val="A4A3A4"/>
          </p15:clr>
        </p15:guide>
        <p15:guide id="49" pos="3908">
          <p15:clr>
            <a:srgbClr val="A4A3A4"/>
          </p15:clr>
        </p15:guide>
        <p15:guide id="50" pos="4362">
          <p15:clr>
            <a:srgbClr val="A4A3A4"/>
          </p15:clr>
        </p15:guide>
        <p15:guide id="51" pos="4498">
          <p15:clr>
            <a:srgbClr val="A4A3A4"/>
          </p15:clr>
        </p15:guide>
        <p15:guide id="52" pos="4951">
          <p15:clr>
            <a:srgbClr val="A4A3A4"/>
          </p15:clr>
        </p15:guide>
        <p15:guide id="53" pos="5087">
          <p15:clr>
            <a:srgbClr val="A4A3A4"/>
          </p15:clr>
        </p15:guide>
        <p15:guide id="54" pos="5541">
          <p15:clr>
            <a:srgbClr val="A4A3A4"/>
          </p15:clr>
        </p15:guide>
        <p15:guide id="55" pos="5677">
          <p15:clr>
            <a:srgbClr val="A4A3A4"/>
          </p15:clr>
        </p15:guide>
        <p15:guide id="56" pos="6153">
          <p15:clr>
            <a:srgbClr val="A4A3A4"/>
          </p15:clr>
        </p15:guide>
        <p15:guide id="57" pos="6267">
          <p15:clr>
            <a:srgbClr val="A4A3A4"/>
          </p15:clr>
        </p15:guide>
        <p15:guide id="58" pos="6743">
          <p15:clr>
            <a:srgbClr val="A4A3A4"/>
          </p15:clr>
        </p15:guide>
        <p15:guide id="59" pos="6856">
          <p15:clr>
            <a:srgbClr val="A4A3A4"/>
          </p15:clr>
        </p15:guide>
        <p15:guide id="60" orient="horz" pos="3838">
          <p15:clr>
            <a:srgbClr val="A4A3A4"/>
          </p15:clr>
        </p15:guide>
        <p15:guide id="61" orient="horz" pos="2092">
          <p15:clr>
            <a:srgbClr val="A4A3A4"/>
          </p15:clr>
        </p15:guide>
        <p15:guide id="62" orient="horz" pos="2228">
          <p15:clr>
            <a:srgbClr val="A4A3A4"/>
          </p15:clr>
        </p15:guide>
        <p15:guide id="63" orient="horz" pos="845">
          <p15:clr>
            <a:srgbClr val="A4A3A4"/>
          </p15:clr>
        </p15:guide>
        <p15:guide id="64" orient="horz" pos="958">
          <p15:clr>
            <a:srgbClr val="A4A3A4"/>
          </p15:clr>
        </p15:guide>
        <p15:guide id="65" orient="horz" pos="1480">
          <p15:clr>
            <a:srgbClr val="A4A3A4"/>
          </p15:clr>
        </p15:guide>
        <p15:guide id="66" orient="horz" pos="1593">
          <p15:clr>
            <a:srgbClr val="A4A3A4"/>
          </p15:clr>
        </p15:guide>
        <p15:guide id="67" orient="horz" pos="2727">
          <p15:clr>
            <a:srgbClr val="A4A3A4"/>
          </p15:clr>
        </p15:guide>
        <p15:guide id="68" orient="horz" pos="2840">
          <p15:clr>
            <a:srgbClr val="A4A3A4"/>
          </p15:clr>
        </p15:guide>
        <p15:guide id="69" orient="horz" pos="3339">
          <p15:clr>
            <a:srgbClr val="A4A3A4"/>
          </p15:clr>
        </p15:guide>
        <p15:guide id="70" orient="horz" pos="347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0E64B50-37C2-BA93-8B21-D16B0076A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96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E64B50-37C2-BA93-8B21-D16B0076A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0034E89-1952-5288-08A0-70A4A73BE3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859967"/>
            <a:ext cx="11115355" cy="2471497"/>
          </a:xfrm>
          <a:noFill/>
        </p:spPr>
        <p:txBody>
          <a:bodyPr vert="horz" rtlCol="0" anchor="ctr"/>
          <a:lstStyle>
            <a:defPPr>
              <a:defRPr lang="de-DE"/>
            </a:defPPr>
          </a:lstStyle>
          <a:p>
            <a:r>
              <a:rPr lang="de-DE" sz="4800" b="1" dirty="0" err="1"/>
              <a:t>Extracting</a:t>
            </a:r>
            <a:r>
              <a:rPr lang="de-DE" sz="4800" b="1" dirty="0"/>
              <a:t> </a:t>
            </a:r>
            <a:r>
              <a:rPr lang="de-DE" sz="4800" b="1" dirty="0" err="1"/>
              <a:t>Predictive</a:t>
            </a:r>
            <a:r>
              <a:rPr lang="de-DE" sz="4800" b="1" dirty="0"/>
              <a:t> Equity Features </a:t>
            </a:r>
            <a:r>
              <a:rPr lang="de-DE" sz="4800" b="1" dirty="0" err="1"/>
              <a:t>from</a:t>
            </a:r>
            <a:r>
              <a:rPr lang="de-DE" sz="4800" b="1" dirty="0"/>
              <a:t> Stock Options</a:t>
            </a:r>
            <a:br>
              <a:rPr lang="de-DE" b="1" dirty="0"/>
            </a:br>
            <a:r>
              <a:rPr lang="de-DE" sz="1600" b="1" dirty="0"/>
              <a:t> </a:t>
            </a:r>
            <a:br>
              <a:rPr lang="de-DE" dirty="0"/>
            </a:br>
            <a:r>
              <a:rPr lang="de-DE" sz="2800" dirty="0"/>
              <a:t>Financial Data Science | Dennis, Moritz, Niklas</a:t>
            </a:r>
            <a:endParaRPr lang="en-US" sz="3600" dirty="0"/>
          </a:p>
        </p:txBody>
      </p:sp>
      <p:pic>
        <p:nvPicPr>
          <p:cNvPr id="11" name="Bildplatzhalter 15" descr="Digitaler Hintergrund für Datenpunkte">
            <a:extLst>
              <a:ext uri="{FF2B5EF4-FFF2-40B4-BE49-F238E27FC236}">
                <a16:creationId xmlns:a16="http://schemas.microsoft.com/office/drawing/2014/main" id="{A496DCE5-C34A-22C2-A9D8-E90DFC8CE86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/>
        </p:blipFill>
        <p:spPr/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38CA5F-B6B3-5614-BD4F-45032C345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CBD12358-51D2-46B3-9BDE-DF29528B945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9748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35EAC-2F80-8913-51CB-8880F42BAF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756B4-D6AF-DDB6-5916-F8B3FE88C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>
                <a:solidFill>
                  <a:srgbClr val="FFFF99"/>
                </a:solidFill>
              </a:rPr>
              <a:t>Skewness</a:t>
            </a:r>
            <a:r>
              <a:rPr lang="de-DE" sz="4000" dirty="0">
                <a:solidFill>
                  <a:srgbClr val="FFFF99"/>
                </a:solidFill>
              </a:rPr>
              <a:t> </a:t>
            </a:r>
            <a:r>
              <a:rPr lang="de-DE" sz="4000" dirty="0" err="1">
                <a:solidFill>
                  <a:srgbClr val="FFFF99"/>
                </a:solidFill>
              </a:rPr>
              <a:t>Decomposing</a:t>
            </a:r>
            <a:r>
              <a:rPr lang="de-DE" sz="4000" dirty="0">
                <a:solidFill>
                  <a:srgbClr val="FFFF99"/>
                </a:solidFill>
              </a:rPr>
              <a:t> in Practic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22041721-A276-2401-8E0B-2B21C10E36B4}"/>
              </a:ext>
            </a:extLst>
          </p:cNvPr>
          <p:cNvSpPr txBox="1">
            <a:spLocks/>
          </p:cNvSpPr>
          <p:nvPr/>
        </p:nvSpPr>
        <p:spPr>
          <a:xfrm>
            <a:off x="6096000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CEBE1B-4780-91FB-8042-DE3926F7F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456263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621ECB-7F83-1DC5-2E44-B8A0B8C73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10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6411B3C-5585-8F16-72C4-A48F72131D7D}"/>
              </a:ext>
            </a:extLst>
          </p:cNvPr>
          <p:cNvSpPr txBox="1"/>
          <p:nvPr/>
        </p:nvSpPr>
        <p:spPr>
          <a:xfrm>
            <a:off x="767327" y="1825625"/>
            <a:ext cx="645626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 and ZTS both show strong idiosyncratic skew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arket-driven skew is relatively minor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Firm-</a:t>
            </a:r>
            <a:r>
              <a:rPr lang="de-DE" sz="2000" dirty="0" err="1"/>
              <a:t>specific</a:t>
            </a:r>
            <a:r>
              <a:rPr lang="de-DE" sz="2000" dirty="0"/>
              <a:t> </a:t>
            </a:r>
            <a:r>
              <a:rPr lang="de-DE" sz="2000" dirty="0" err="1"/>
              <a:t>factors</a:t>
            </a:r>
            <a:r>
              <a:rPr lang="de-DE" sz="2000" dirty="0"/>
              <a:t> </a:t>
            </a:r>
            <a:r>
              <a:rPr lang="de-DE" sz="2000" dirty="0" err="1"/>
              <a:t>dominate</a:t>
            </a:r>
            <a:r>
              <a:rPr lang="de-DE" sz="2000" dirty="0"/>
              <a:t> </a:t>
            </a:r>
            <a:r>
              <a:rPr lang="de-DE" sz="2000" dirty="0" err="1"/>
              <a:t>asymmetry</a:t>
            </a:r>
            <a:endParaRPr lang="de-DE" sz="2000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55E14392-4933-A2B5-1B11-51DDF37C3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 and ZTS both show strong idiosyncratic sk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69046EE-8BB0-6D84-59F3-C9A061EA87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3925" y="3883304"/>
            <a:ext cx="8164150" cy="186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6597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97CE9-6653-58CF-5C50-DBA06E4F1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7C0B34-63FC-5E98-0218-3DAD72697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>
                <a:solidFill>
                  <a:srgbClr val="FFFF99"/>
                </a:solidFill>
              </a:rPr>
              <a:t>Daily </a:t>
            </a:r>
            <a:r>
              <a:rPr lang="de-DE" sz="4000" dirty="0" err="1">
                <a:solidFill>
                  <a:srgbClr val="FFFF99"/>
                </a:solidFill>
              </a:rPr>
              <a:t>Skewness</a:t>
            </a:r>
            <a:r>
              <a:rPr lang="de-DE" sz="4000" dirty="0">
                <a:solidFill>
                  <a:srgbClr val="FFFF99"/>
                </a:solidFill>
              </a:rPr>
              <a:t> Market vs. Firm </a:t>
            </a:r>
            <a:r>
              <a:rPr lang="de-DE" sz="4000" dirty="0" err="1">
                <a:solidFill>
                  <a:srgbClr val="FFFF99"/>
                </a:solidFill>
              </a:rPr>
              <a:t>Effects</a:t>
            </a:r>
            <a:endParaRPr lang="de-DE" sz="4000" dirty="0">
              <a:solidFill>
                <a:srgbClr val="FFFF99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EEBC88-58F0-F91D-13C2-3ADB0728A0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58" y="2757230"/>
            <a:ext cx="5257800" cy="4351338"/>
          </a:xfrm>
        </p:spPr>
        <p:txBody>
          <a:bodyPr numCol="1">
            <a:normAutofit/>
          </a:bodyPr>
          <a:lstStyle/>
          <a:p>
            <a:r>
              <a:rPr lang="en-US" sz="2000" dirty="0"/>
              <a:t>Systematic skew remains stable and negative</a:t>
            </a:r>
          </a:p>
          <a:p>
            <a:r>
              <a:rPr lang="en-US" sz="2000" dirty="0"/>
              <a:t>Idiosyncratic skew is higher and fluctuates more</a:t>
            </a:r>
          </a:p>
          <a:p>
            <a:r>
              <a:rPr lang="en-US" sz="2000" dirty="0"/>
              <a:t>Total skew is a weighted blend of both</a:t>
            </a:r>
            <a:endParaRPr lang="de-DE" sz="200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EE2E3A0C-B9E7-0531-11D5-BA7DF1A04EB1}"/>
              </a:ext>
            </a:extLst>
          </p:cNvPr>
          <p:cNvSpPr txBox="1">
            <a:spLocks/>
          </p:cNvSpPr>
          <p:nvPr/>
        </p:nvSpPr>
        <p:spPr>
          <a:xfrm>
            <a:off x="6095998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BCD110-5D59-F7A1-2C2F-7CC355C7E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430685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73D22E1-8B2F-6280-2E18-4B56C4809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11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22D2D8F-6953-5BA4-FB7B-B5EE2FEBE4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9426" y="2069503"/>
            <a:ext cx="5010943" cy="2863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996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17856C-7A93-6672-4212-8FC994A6F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F7EEF-D70D-F0D4-AB3D-1BE2B57D8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>
                <a:solidFill>
                  <a:srgbClr val="FFFF99"/>
                </a:solidFill>
              </a:rPr>
              <a:t>Index vs. Stock </a:t>
            </a:r>
            <a:r>
              <a:rPr lang="de-DE" sz="4000" dirty="0" err="1">
                <a:solidFill>
                  <a:srgbClr val="FFFF99"/>
                </a:solidFill>
              </a:rPr>
              <a:t>Skewness</a:t>
            </a:r>
            <a:endParaRPr lang="de-DE" sz="4000" dirty="0">
              <a:solidFill>
                <a:srgbClr val="FFFF99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657C6E-85E7-5F97-8E16-EB954FC67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2" y="1825625"/>
            <a:ext cx="5118418" cy="5768975"/>
          </a:xfrm>
        </p:spPr>
        <p:txBody>
          <a:bodyPr numCol="1">
            <a:normAutofit/>
          </a:bodyPr>
          <a:lstStyle/>
          <a:p>
            <a:pPr marL="0" indent="0">
              <a:buNone/>
            </a:pPr>
            <a:r>
              <a:rPr lang="en-US" dirty="0"/>
              <a:t>Hypothesis: Index Skew &lt; Stock Skew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Index reflects aggregated crash risk</a:t>
            </a:r>
          </a:p>
          <a:p>
            <a:r>
              <a:rPr lang="en-US" sz="2000" dirty="0"/>
              <a:t>Single stocks often have symmetric or even optimistic skew</a:t>
            </a:r>
          </a:p>
          <a:p>
            <a:r>
              <a:rPr lang="en-US" sz="2000" dirty="0"/>
              <a:t>Market-wide events drive stronger downside in indices</a:t>
            </a:r>
            <a:endParaRPr lang="de-DE" sz="2000" b="1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597968E9-5ADB-26AC-8327-349EDE5FD331}"/>
              </a:ext>
            </a:extLst>
          </p:cNvPr>
          <p:cNvSpPr txBox="1">
            <a:spLocks/>
          </p:cNvSpPr>
          <p:nvPr/>
        </p:nvSpPr>
        <p:spPr>
          <a:xfrm>
            <a:off x="6095998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4B41BB7-4F9D-8376-0DDC-B9E3D864D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49868" cy="153888"/>
          </a:xfrm>
        </p:spPr>
        <p:txBody>
          <a:bodyPr/>
          <a:lstStyle/>
          <a:p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4755ECA-6532-93E3-3A73-7038829CF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12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75D71F8-9148-259D-EDE6-F30868400F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8053" y="2040902"/>
            <a:ext cx="5653083" cy="2776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9507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6992AF-0167-F55F-4FD6-29899D0899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FF717-2CEA-D43F-B4C3-629C9001C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>
                <a:solidFill>
                  <a:srgbClr val="FFFF99"/>
                </a:solidFill>
              </a:rPr>
              <a:t>Skewness</a:t>
            </a:r>
            <a:r>
              <a:rPr lang="de-DE" sz="4000" dirty="0">
                <a:solidFill>
                  <a:srgbClr val="FFFF99"/>
                </a:solidFill>
              </a:rPr>
              <a:t> </a:t>
            </a:r>
            <a:r>
              <a:rPr lang="de-DE" sz="4000" dirty="0" err="1">
                <a:solidFill>
                  <a:srgbClr val="FFFF99"/>
                </a:solidFill>
              </a:rPr>
              <a:t>Comparison</a:t>
            </a:r>
            <a:r>
              <a:rPr lang="de-DE" sz="4000" dirty="0">
                <a:solidFill>
                  <a:srgbClr val="FFFF99"/>
                </a:solidFill>
              </a:rPr>
              <a:t> SPX vs. Stock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05E97F-861B-E72C-8D58-9D8D24A97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4249098"/>
            <a:ext cx="8458199" cy="6899275"/>
          </a:xfrm>
        </p:spPr>
        <p:txBody>
          <a:bodyPr numCol="1">
            <a:normAutofit/>
          </a:bodyPr>
          <a:lstStyle/>
          <a:p>
            <a:r>
              <a:rPr lang="de-DE" sz="2000" dirty="0"/>
              <a:t>SPX </a:t>
            </a:r>
            <a:r>
              <a:rPr lang="de-DE" sz="2000" dirty="0" err="1"/>
              <a:t>average</a:t>
            </a:r>
            <a:r>
              <a:rPr lang="de-DE" sz="2000" dirty="0"/>
              <a:t> </a:t>
            </a:r>
            <a:r>
              <a:rPr lang="de-DE" sz="2000" dirty="0" err="1"/>
              <a:t>skew</a:t>
            </a:r>
            <a:r>
              <a:rPr lang="de-DE" sz="2000" dirty="0"/>
              <a:t> = −2.319</a:t>
            </a:r>
          </a:p>
          <a:p>
            <a:r>
              <a:rPr lang="en-US" sz="2000" dirty="0"/>
              <a:t>Most stocks between −1.0 and −1.6 (mean -1.225)</a:t>
            </a:r>
          </a:p>
          <a:p>
            <a:r>
              <a:rPr lang="en-US" sz="2000" dirty="0"/>
              <a:t>Only ~3.8% of stocks more negatively skewed than SPX</a:t>
            </a:r>
            <a:endParaRPr lang="de-DE" sz="200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9C0BF46C-3157-B147-3011-6FAF94C27E16}"/>
              </a:ext>
            </a:extLst>
          </p:cNvPr>
          <p:cNvSpPr txBox="1">
            <a:spLocks/>
          </p:cNvSpPr>
          <p:nvPr/>
        </p:nvSpPr>
        <p:spPr>
          <a:xfrm>
            <a:off x="6095998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519F9B-5892-AB9B-4817-0575B50FF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43474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BD0DADB-FB29-3941-01B7-C0F85DE65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13</a:t>
            </a:fld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CBE2232-A1ED-734E-9504-B376BFB07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5339" y="1443024"/>
            <a:ext cx="7181317" cy="2587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6075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EA54CC-0BA3-DADD-BBF6-456164993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FFFF99"/>
                </a:solidFill>
              </a:rPr>
              <a:t>Economic</a:t>
            </a:r>
            <a:r>
              <a:rPr lang="de-DE" dirty="0">
                <a:solidFill>
                  <a:srgbClr val="FFFF99"/>
                </a:solidFill>
              </a:rPr>
              <a:t> Interpretat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2C902D-1349-8CCD-7373-10C1F00A75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9537" y="1883857"/>
            <a:ext cx="11091600" cy="39789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y Is the Index More Skewed?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de-DE" dirty="0"/>
              <a:t>Risk </a:t>
            </a:r>
            <a:r>
              <a:rPr lang="de-DE" dirty="0" err="1"/>
              <a:t>aggregation</a:t>
            </a:r>
            <a:r>
              <a:rPr lang="de-DE" dirty="0"/>
              <a:t> </a:t>
            </a:r>
            <a:r>
              <a:rPr lang="de-DE" dirty="0" err="1"/>
              <a:t>amplifies</a:t>
            </a:r>
            <a:r>
              <a:rPr lang="de-DE" dirty="0"/>
              <a:t> </a:t>
            </a:r>
            <a:r>
              <a:rPr lang="de-DE" dirty="0" err="1"/>
              <a:t>downside</a:t>
            </a:r>
            <a:endParaRPr lang="de-DE" dirty="0"/>
          </a:p>
          <a:p>
            <a:r>
              <a:rPr lang="en-US" dirty="0"/>
              <a:t>Index hedging demand &gt; stock hedging</a:t>
            </a:r>
          </a:p>
          <a:p>
            <a:r>
              <a:rPr lang="de-DE" dirty="0" err="1"/>
              <a:t>Optimism</a:t>
            </a:r>
            <a:r>
              <a:rPr lang="de-DE" dirty="0"/>
              <a:t> in </a:t>
            </a:r>
            <a:r>
              <a:rPr lang="de-DE" dirty="0" err="1"/>
              <a:t>stocks</a:t>
            </a:r>
            <a:r>
              <a:rPr lang="de-DE" dirty="0"/>
              <a:t> </a:t>
            </a:r>
            <a:r>
              <a:rPr lang="de-DE" dirty="0" err="1"/>
              <a:t>offsets</a:t>
            </a:r>
            <a:r>
              <a:rPr lang="de-DE" dirty="0"/>
              <a:t> </a:t>
            </a:r>
            <a:r>
              <a:rPr lang="de-DE" dirty="0" err="1"/>
              <a:t>market</a:t>
            </a:r>
            <a:r>
              <a:rPr lang="de-DE" dirty="0"/>
              <a:t> </a:t>
            </a:r>
            <a:r>
              <a:rPr lang="de-DE" dirty="0" err="1"/>
              <a:t>skew</a:t>
            </a:r>
            <a:endParaRPr lang="de-DE" dirty="0"/>
          </a:p>
          <a:p>
            <a:r>
              <a:rPr lang="en-US" dirty="0"/>
              <a:t>Herding &amp; panic act stronger on the inde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7232-60A9-DFBA-5042-0CC5E4DE0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nnis Sackmann | Niklas Held | Moritz Gaßmann - Problemset 3: Extracting Predictive Equity Features from Stock Op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A73AB3-CBE7-1969-FA14-8209FCF1E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0386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2EA518-6D28-A7D1-1E19-9AEA4FACFA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EAC14E5-DFD4-DD82-BB51-B365B249C5DB}"/>
              </a:ext>
            </a:extLst>
          </p:cNvPr>
          <p:cNvSpPr/>
          <p:nvPr/>
        </p:nvSpPr>
        <p:spPr bwMode="gray">
          <a:xfrm>
            <a:off x="5977387" y="3594246"/>
            <a:ext cx="3574371" cy="130375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defPPr rtl="0">
              <a:defRPr lang="de-DE"/>
            </a:defPPr>
            <a:lvl1pPr marL="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Aft>
                <a:spcPts val="1000"/>
              </a:spcAft>
            </a:pPr>
            <a:endParaRPr lang="en-US" sz="9600" dirty="0">
              <a:solidFill>
                <a:schemeClr val="bg1"/>
              </a:solidFill>
            </a:endParaRPr>
          </a:p>
        </p:txBody>
      </p:sp>
      <p:sp>
        <p:nvSpPr>
          <p:cNvPr id="6" name="Textfeld 152">
            <a:extLst>
              <a:ext uri="{FF2B5EF4-FFF2-40B4-BE49-F238E27FC236}">
                <a16:creationId xmlns:a16="http://schemas.microsoft.com/office/drawing/2014/main" id="{85B70A43-CBA9-4459-C3DF-A3C544C8B15D}"/>
              </a:ext>
            </a:extLst>
          </p:cNvPr>
          <p:cNvSpPr txBox="1"/>
          <p:nvPr/>
        </p:nvSpPr>
        <p:spPr>
          <a:xfrm>
            <a:off x="3703094" y="2606257"/>
            <a:ext cx="4548585" cy="260379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rtl="0">
              <a:defRPr lang="de-DE"/>
            </a:defPPr>
            <a:lvl1pPr marL="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7200" dirty="0">
                <a:solidFill>
                  <a:srgbClr val="FFFF99"/>
                </a:solidFill>
                <a:latin typeface="+mj-lt"/>
                <a:ea typeface="+mj-ea"/>
                <a:cs typeface="+mj-cs"/>
              </a:rPr>
              <a:t>Thank</a:t>
            </a:r>
            <a:br>
              <a:rPr lang="en-US" sz="7200" dirty="0">
                <a:solidFill>
                  <a:srgbClr val="FFFF99"/>
                </a:solidFill>
                <a:latin typeface="+mj-lt"/>
                <a:ea typeface="+mj-ea"/>
                <a:cs typeface="+mj-cs"/>
              </a:rPr>
            </a:br>
            <a:r>
              <a:rPr lang="en-US" sz="7200" dirty="0">
                <a:solidFill>
                  <a:srgbClr val="FFFF99"/>
                </a:solidFill>
                <a:latin typeface="+mj-lt"/>
                <a:ea typeface="+mj-ea"/>
                <a:cs typeface="+mj-cs"/>
              </a:rPr>
              <a:t>You</a:t>
            </a:r>
            <a:br>
              <a:rPr lang="en-US" sz="8000" dirty="0">
                <a:solidFill>
                  <a:srgbClr val="B86900"/>
                </a:solidFill>
              </a:rPr>
            </a:br>
            <a:endParaRPr lang="en-US" sz="6000" dirty="0">
              <a:solidFill>
                <a:srgbClr val="B8690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203684E-168B-C2E9-3DD4-03CB0F79D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430685" cy="153888"/>
          </a:xfrm>
        </p:spPr>
        <p:txBody>
          <a:bodyPr/>
          <a:lstStyle/>
          <a:p>
            <a:pPr rtl="0"/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4A552E-E43F-C04C-E162-DB23BB0EA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BA1B0FB-D917-4C8C-928F-313BD683BF39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6287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F30C5-5106-C3C1-84F9-7FC6DDD5B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de-DE" dirty="0">
                <a:solidFill>
                  <a:srgbClr val="FFFF99"/>
                </a:solidFill>
              </a:rPr>
              <a:t>Agenda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0C76AE-F49C-F888-1F0C-51394F4403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2" y="1948691"/>
            <a:ext cx="7929940" cy="3979625"/>
          </a:xfrm>
        </p:spPr>
        <p:txBody>
          <a:bodyPr>
            <a:normAutofit/>
          </a:bodyPr>
          <a:lstStyle/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/>
              <a:t>Motivation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 err="1"/>
              <a:t>Theoretical</a:t>
            </a:r>
            <a:r>
              <a:rPr lang="de-DE" sz="2400" dirty="0"/>
              <a:t> Background</a:t>
            </a:r>
          </a:p>
          <a:p>
            <a:pPr marL="457200" indent="-4572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sz="2400" dirty="0" err="1"/>
              <a:t>From</a:t>
            </a:r>
            <a:r>
              <a:rPr lang="de-DE" sz="2400" dirty="0"/>
              <a:t> Option Prices </a:t>
            </a:r>
            <a:r>
              <a:rPr lang="de-DE" sz="2400" dirty="0" err="1"/>
              <a:t>to</a:t>
            </a:r>
            <a:r>
              <a:rPr lang="de-DE" sz="2400" dirty="0"/>
              <a:t> Moment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/>
              <a:t>SPX vs. Stock A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 err="1"/>
              <a:t>Skewness</a:t>
            </a:r>
            <a:r>
              <a:rPr lang="de-DE" sz="2400" dirty="0"/>
              <a:t> </a:t>
            </a:r>
            <a:r>
              <a:rPr lang="de-DE" sz="2400" dirty="0" err="1"/>
              <a:t>Decomposing</a:t>
            </a:r>
            <a:endParaRPr lang="de-DE" sz="2400" dirty="0"/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sz="2400" dirty="0"/>
              <a:t>Daily Skewness Market vs. Firm Effect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/>
              <a:t>Index vs. Stock </a:t>
            </a:r>
            <a:r>
              <a:rPr lang="de-DE" sz="2400" dirty="0" err="1"/>
              <a:t>Skewness</a:t>
            </a:r>
            <a:endParaRPr lang="de-DE" sz="2400" dirty="0"/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sz="2400" dirty="0"/>
              <a:t>Skewness Comparison SPX vs. Stocks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e-DE" sz="2400" dirty="0" err="1"/>
              <a:t>Economic</a:t>
            </a:r>
            <a:r>
              <a:rPr lang="de-DE" sz="2400" dirty="0"/>
              <a:t> Interpre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A58764-F859-710E-AC5B-0B4A67C2D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589713" cy="153888"/>
          </a:xfrm>
        </p:spPr>
        <p:txBody>
          <a:bodyPr/>
          <a:lstStyle/>
          <a:p>
            <a:pPr rtl="0"/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F402210-024C-099F-6839-E0DA83463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BA1B0FB-D917-4C8C-928F-313BD683BF3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34675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CF7C41-DDB8-4879-F130-FB28DFB22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rgbClr val="FFFF99"/>
                </a:solidFill>
              </a:rPr>
              <a:t>Motivation</a:t>
            </a:r>
            <a:br>
              <a:rPr lang="de-DE" dirty="0">
                <a:solidFill>
                  <a:srgbClr val="FFFF99"/>
                </a:solidFill>
              </a:rPr>
            </a:b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6938E4C-BE84-7D67-FC5A-FD2C7864BA91}"/>
              </a:ext>
            </a:extLst>
          </p:cNvPr>
          <p:cNvSpPr txBox="1"/>
          <p:nvPr/>
        </p:nvSpPr>
        <p:spPr>
          <a:xfrm>
            <a:off x="2235200" y="31786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D60C964B-9A07-7122-20DC-E72F5CDFF6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1840635"/>
            <a:ext cx="9680185" cy="4278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We extract the first four moments of the risk-neutral return distribution from option prices of: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2000" dirty="0"/>
              <a:t>SPX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all SP500 constituents</a:t>
            </a:r>
            <a:br>
              <a:rPr lang="en-US" dirty="0"/>
            </a:br>
            <a:endParaRPr lang="en-US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We also decompose skewness into systematic and idiosyncratic parts and compare Index and individual stocks skewness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br>
              <a:rPr lang="en-US" dirty="0"/>
            </a:br>
            <a:endParaRPr lang="de-DE" altLang="de-DE" sz="2000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10C25E7-3451-85D1-D9C4-22994386F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437079" cy="153888"/>
          </a:xfrm>
        </p:spPr>
        <p:txBody>
          <a:bodyPr/>
          <a:lstStyle/>
          <a:p>
            <a:pPr rtl="0"/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BC5EE7E-6701-E29A-D762-22C641D02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BA1B0FB-D917-4C8C-928F-313BD683BF39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794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56C7FB-D73E-DBFA-AFF1-3504C3BCA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7770B8-0490-BA2E-6E04-02357E9C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FFFF99"/>
                </a:solidFill>
              </a:rPr>
              <a:t>Theoretical</a:t>
            </a:r>
            <a:r>
              <a:rPr lang="de-DE" dirty="0">
                <a:solidFill>
                  <a:srgbClr val="FFFF99"/>
                </a:solidFill>
              </a:rPr>
              <a:t> Background</a:t>
            </a:r>
            <a:br>
              <a:rPr lang="de-DE" dirty="0">
                <a:solidFill>
                  <a:srgbClr val="FFFF99"/>
                </a:solidFill>
              </a:rPr>
            </a:br>
            <a:endParaRPr lang="de-DE" sz="2400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3D99E3F-775C-089D-F822-3AE3E10FD6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1840635"/>
            <a:ext cx="10072353" cy="2815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We focus on four key statistical properties from option prices:</a:t>
            </a:r>
          </a:p>
          <a:p>
            <a:r>
              <a:rPr lang="de-DE" sz="2000" b="1" dirty="0"/>
              <a:t>Mean:</a:t>
            </a:r>
            <a:r>
              <a:rPr lang="de-DE" sz="2000" dirty="0"/>
              <a:t> </a:t>
            </a:r>
            <a:r>
              <a:rPr lang="de-DE" sz="2000" dirty="0" err="1"/>
              <a:t>logarithmic</a:t>
            </a:r>
            <a:r>
              <a:rPr lang="de-DE" sz="2000" dirty="0"/>
              <a:t> </a:t>
            </a:r>
            <a:r>
              <a:rPr lang="de-DE" sz="2000" dirty="0" err="1"/>
              <a:t>expected</a:t>
            </a:r>
            <a:r>
              <a:rPr lang="de-DE" sz="2000" dirty="0"/>
              <a:t> </a:t>
            </a:r>
            <a:r>
              <a:rPr lang="de-DE" sz="2000" dirty="0" err="1"/>
              <a:t>change</a:t>
            </a:r>
            <a:r>
              <a:rPr lang="de-DE" sz="2000" dirty="0"/>
              <a:t> in </a:t>
            </a:r>
            <a:r>
              <a:rPr lang="de-DE" sz="2000" dirty="0" err="1"/>
              <a:t>price</a:t>
            </a:r>
            <a:endParaRPr lang="de-DE" sz="2000" dirty="0"/>
          </a:p>
          <a:p>
            <a:r>
              <a:rPr lang="de-DE" sz="2000" b="1" dirty="0" err="1"/>
              <a:t>Variance</a:t>
            </a:r>
            <a:r>
              <a:rPr lang="de-DE" sz="2000" b="1" dirty="0"/>
              <a:t>:</a:t>
            </a:r>
            <a:r>
              <a:rPr lang="de-DE" sz="2000" dirty="0"/>
              <a:t> </a:t>
            </a:r>
            <a:r>
              <a:rPr lang="de-DE" sz="2000" dirty="0" err="1"/>
              <a:t>expected</a:t>
            </a:r>
            <a:r>
              <a:rPr lang="de-DE" sz="2000" dirty="0"/>
              <a:t> </a:t>
            </a:r>
            <a:r>
              <a:rPr lang="de-DE" sz="2000" dirty="0" err="1"/>
              <a:t>volatility</a:t>
            </a:r>
            <a:endParaRPr lang="de-DE" sz="2000" dirty="0"/>
          </a:p>
          <a:p>
            <a:r>
              <a:rPr lang="en-US" sz="2000" b="1" dirty="0"/>
              <a:t>Skewness:</a:t>
            </a:r>
            <a:r>
              <a:rPr lang="en-US" sz="2000" dirty="0"/>
              <a:t> asymmetry – potential for large drops vs. gains</a:t>
            </a:r>
          </a:p>
          <a:p>
            <a:r>
              <a:rPr lang="en-US" sz="2000" b="1" dirty="0"/>
              <a:t>Kurtosis:</a:t>
            </a:r>
            <a:r>
              <a:rPr lang="en-US" sz="2000" dirty="0"/>
              <a:t> fat tails – likelihood of extreme events</a:t>
            </a:r>
            <a:endParaRPr lang="de-DE" altLang="de-DE" sz="2000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E23819F-C4B2-6080-5E7B-966CA1C7A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11502" cy="153888"/>
          </a:xfrm>
        </p:spPr>
        <p:txBody>
          <a:bodyPr/>
          <a:lstStyle/>
          <a:p>
            <a:pPr rtl="0"/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97E29B2-1BC1-82EB-A206-F07FCC9DF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BA1B0FB-D917-4C8C-928F-313BD683BF39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303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3FD3B-99A9-062E-7CAB-8B4E202C8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CEDD4B-5FF5-6F72-D265-F3B6C4526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 err="1">
                <a:solidFill>
                  <a:srgbClr val="FFFF99"/>
                </a:solidFill>
              </a:rPr>
              <a:t>From</a:t>
            </a:r>
            <a:r>
              <a:rPr lang="de-DE" sz="4000" dirty="0">
                <a:solidFill>
                  <a:srgbClr val="FFFF99"/>
                </a:solidFill>
              </a:rPr>
              <a:t> Option Prices </a:t>
            </a:r>
            <a:r>
              <a:rPr lang="de-DE" sz="4000" dirty="0" err="1">
                <a:solidFill>
                  <a:srgbClr val="FFFF99"/>
                </a:solidFill>
              </a:rPr>
              <a:t>to</a:t>
            </a:r>
            <a:r>
              <a:rPr lang="de-DE" sz="4000" dirty="0">
                <a:solidFill>
                  <a:srgbClr val="FFFF99"/>
                </a:solidFill>
              </a:rPr>
              <a:t> Moments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B485911D-49D6-BB44-9EE8-CBE3EF448FDD}"/>
              </a:ext>
            </a:extLst>
          </p:cNvPr>
          <p:cNvSpPr txBox="1">
            <a:spLocks/>
          </p:cNvSpPr>
          <p:nvPr/>
        </p:nvSpPr>
        <p:spPr>
          <a:xfrm>
            <a:off x="6095998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811B3BF-7838-788C-A6A7-405AA40BE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456263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A41A826-03CE-D697-CF0C-FA9A3CAF7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5</a:t>
            </a:fld>
            <a:endParaRPr lang="de-DE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8955B09-F660-0719-7D1D-BAF52F400B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2" y="1217328"/>
            <a:ext cx="10072353" cy="395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400" b="1" dirty="0"/>
              <a:t>Mu</a:t>
            </a:r>
            <a:endParaRPr lang="de-DE" b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de-DE" sz="2000" b="1" dirty="0" err="1"/>
              <a:t>Variance</a:t>
            </a: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2000" b="1" dirty="0" err="1"/>
              <a:t>Skewness</a:t>
            </a:r>
            <a:endParaRPr lang="de-DE" sz="2000" b="1" dirty="0"/>
          </a:p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2000" b="1" dirty="0" err="1"/>
              <a:t>Kurtosis</a:t>
            </a:r>
            <a:endParaRPr lang="de-DE" sz="2000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B289D14-F0D0-ECD2-4745-FEE635FF8B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1133"/>
          <a:stretch/>
        </p:blipFill>
        <p:spPr>
          <a:xfrm>
            <a:off x="550861" y="4179571"/>
            <a:ext cx="4439212" cy="50020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6734148E-D6D3-558A-31E0-38C541D893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712"/>
          <a:stretch/>
        </p:blipFill>
        <p:spPr>
          <a:xfrm>
            <a:off x="550863" y="5332636"/>
            <a:ext cx="5316633" cy="50921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F5D1F914-0826-6392-5C17-E553EA300A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1087" y="2337783"/>
            <a:ext cx="4191213" cy="255497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312DA5F-E79B-26DC-C5D0-E78B3FE01F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1" y="3061112"/>
            <a:ext cx="5634968" cy="48359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DB4DFC8-A055-1B35-C508-CF120206E3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1" y="1795378"/>
            <a:ext cx="5077779" cy="483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028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38A92A-85AB-0D5F-6602-D543F2D66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766FF5-8A76-1B49-FD48-DC02DC94A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>
                <a:solidFill>
                  <a:srgbClr val="FFFF99"/>
                </a:solidFill>
              </a:rPr>
              <a:t>SPX vs. Stock A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514A7E-CF4A-F945-2E60-7B0F005BEF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75446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397875E-CF81-F70A-E6C1-B7E53D4D5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6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C864181-BBF8-6FC2-C264-583CB8A51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957" y="4402583"/>
            <a:ext cx="11091600" cy="3978963"/>
          </a:xfrm>
        </p:spPr>
        <p:txBody>
          <a:bodyPr>
            <a:normAutofit/>
          </a:bodyPr>
          <a:lstStyle/>
          <a:p>
            <a:r>
              <a:rPr lang="en-US" sz="2000" dirty="0"/>
              <a:t>SPX has strongly negative skew (−2.319) and high kurtosis (≈ 20)</a:t>
            </a:r>
          </a:p>
          <a:p>
            <a:r>
              <a:rPr lang="en-US" sz="2000" dirty="0"/>
              <a:t>Stock A shows higher skew and lower kurtosis</a:t>
            </a:r>
          </a:p>
          <a:p>
            <a:r>
              <a:rPr lang="en-US" sz="2000" dirty="0"/>
              <a:t>Indicates stronger downside risk priced in for the index</a:t>
            </a:r>
            <a:endParaRPr lang="de-DE" sz="2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B4B9EF8-92A5-472E-5722-E6D7FC1DFF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2917" y="1535437"/>
            <a:ext cx="5476417" cy="2322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5D5AC5-3F70-F81C-ACDB-54BAC20977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851" y="1535437"/>
            <a:ext cx="5476417" cy="23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92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4F3E4-7A6D-4FC4-5D33-4B9990FA0C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520B87-6690-2815-8E96-CDCE9F407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>
                <a:solidFill>
                  <a:srgbClr val="FFFF99"/>
                </a:solidFill>
              </a:rPr>
              <a:t>SPX vs. Stock A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E307235-35E8-AD56-777D-9682EDA1C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75446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0B0A95-CC7A-7C07-E753-D2DDF3B1A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7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69D1429-3118-AC05-7E4F-A108848613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957" y="4402583"/>
            <a:ext cx="11091600" cy="3978963"/>
          </a:xfrm>
        </p:spPr>
        <p:txBody>
          <a:bodyPr>
            <a:normAutofit/>
          </a:bodyPr>
          <a:lstStyle/>
          <a:p>
            <a:r>
              <a:rPr lang="en-US" sz="2000" dirty="0"/>
              <a:t>SPX has strongly negative skew (−2.319) and high kurtosis (≈ 20)</a:t>
            </a:r>
          </a:p>
          <a:p>
            <a:r>
              <a:rPr lang="en-US" sz="2000" dirty="0"/>
              <a:t>Stock A shows higher skew and lower kurtosis</a:t>
            </a:r>
          </a:p>
          <a:p>
            <a:r>
              <a:rPr lang="en-US" sz="2000" dirty="0"/>
              <a:t>Indicates stronger downside risk priced in for the index</a:t>
            </a:r>
            <a:endParaRPr lang="de-DE" sz="2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1A0F30A-2B33-F3C5-E645-E6ED5833D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2917" y="1535437"/>
            <a:ext cx="5476417" cy="2322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EB99726-C605-F628-F3D5-F310CB797D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478" y="1265107"/>
            <a:ext cx="10205663" cy="43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3005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5A54A5-F9D5-97F3-F00F-8C3480E6C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E98ADA-58AB-87B4-2643-C69CADD36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>
                <a:solidFill>
                  <a:srgbClr val="FFFF99"/>
                </a:solidFill>
              </a:rPr>
              <a:t>SPX vs. Stock A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FCB748D-769A-10A1-8F7C-1F68D9C6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50" y="6507212"/>
            <a:ext cx="6475446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CE5BD78-0EB8-EC12-71C8-F76EA5039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8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8387DB3A-5615-287C-86C2-7F869BA50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957" y="4402583"/>
            <a:ext cx="11091600" cy="3978963"/>
          </a:xfrm>
        </p:spPr>
        <p:txBody>
          <a:bodyPr>
            <a:normAutofit/>
          </a:bodyPr>
          <a:lstStyle/>
          <a:p>
            <a:r>
              <a:rPr lang="en-US" sz="2000" dirty="0"/>
              <a:t>SPX has strongly negative skew (−2.319) and high kurtosis (≈ 20)</a:t>
            </a:r>
          </a:p>
          <a:p>
            <a:r>
              <a:rPr lang="en-US" sz="2000" dirty="0"/>
              <a:t>Stock A shows higher skew and lower kurtosis</a:t>
            </a:r>
          </a:p>
          <a:p>
            <a:r>
              <a:rPr lang="en-US" sz="2000" dirty="0"/>
              <a:t>Indicates stronger downside risk priced in for the index</a:t>
            </a:r>
            <a:endParaRPr lang="de-DE" sz="20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9BDC2E7-95E2-4FB3-BADB-3F1963EDE9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851" y="1535437"/>
            <a:ext cx="5476417" cy="2322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9AAD8AE-CBDE-C601-5739-23F9DAD69E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168" y="1265400"/>
            <a:ext cx="10205664" cy="43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9657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D65F0-F0E2-90D1-61D9-5B981E978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A387C-D1E8-3F08-DED8-FC347F019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 err="1">
                <a:solidFill>
                  <a:srgbClr val="FFFF99"/>
                </a:solidFill>
              </a:rPr>
              <a:t>Skewness</a:t>
            </a:r>
            <a:r>
              <a:rPr lang="de-DE" sz="4000" dirty="0">
                <a:solidFill>
                  <a:srgbClr val="FFFF99"/>
                </a:solidFill>
              </a:rPr>
              <a:t> </a:t>
            </a:r>
            <a:r>
              <a:rPr lang="de-DE" sz="4000" dirty="0" err="1">
                <a:solidFill>
                  <a:srgbClr val="FFFF99"/>
                </a:solidFill>
              </a:rPr>
              <a:t>Decomposing</a:t>
            </a:r>
            <a:endParaRPr lang="de-DE" sz="4000" dirty="0">
              <a:solidFill>
                <a:srgbClr val="FFFF99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32AE79-2B60-7435-FAEF-3FA661E821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012" y="3652026"/>
            <a:ext cx="5503580" cy="4481575"/>
          </a:xfrm>
        </p:spPr>
        <p:txBody>
          <a:bodyPr numCol="1">
            <a:normAutofit/>
          </a:bodyPr>
          <a:lstStyle/>
          <a:p>
            <a:r>
              <a:rPr lang="de-DE" sz="1800" dirty="0" err="1"/>
              <a:t>Systematic</a:t>
            </a:r>
            <a:r>
              <a:rPr lang="de-DE" sz="1800" dirty="0"/>
              <a:t> = </a:t>
            </a:r>
            <a:r>
              <a:rPr lang="de-DE" sz="1800" dirty="0" err="1"/>
              <a:t>market-driven</a:t>
            </a:r>
            <a:endParaRPr lang="de-DE" sz="1800" dirty="0"/>
          </a:p>
          <a:p>
            <a:r>
              <a:rPr lang="de-DE" sz="1800" dirty="0" err="1"/>
              <a:t>Idiosyncratic</a:t>
            </a:r>
            <a:r>
              <a:rPr lang="de-DE" sz="1800" dirty="0"/>
              <a:t> = firm-</a:t>
            </a:r>
            <a:r>
              <a:rPr lang="de-DE" sz="1800" dirty="0" err="1"/>
              <a:t>specific</a:t>
            </a:r>
            <a:endParaRPr lang="de-DE" sz="1800" dirty="0"/>
          </a:p>
          <a:p>
            <a:r>
              <a:rPr lang="en-US" sz="1800" dirty="0"/>
              <a:t>Not all skew comes from market moves</a:t>
            </a:r>
            <a:endParaRPr lang="de-DE" sz="1800" b="1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BEE4F4CA-8ABA-BC4E-946D-6E78A91D9A0E}"/>
              </a:ext>
            </a:extLst>
          </p:cNvPr>
          <p:cNvSpPr txBox="1">
            <a:spLocks/>
          </p:cNvSpPr>
          <p:nvPr/>
        </p:nvSpPr>
        <p:spPr>
          <a:xfrm>
            <a:off x="6095998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6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7B648D1-37BE-64D9-C67D-CFE47A68A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59149" y="6507212"/>
            <a:ext cx="6520207" cy="153888"/>
          </a:xfrm>
        </p:spPr>
        <p:txBody>
          <a:bodyPr/>
          <a:lstStyle/>
          <a:p>
            <a:r>
              <a:rPr lang="en-US" dirty="0"/>
              <a:t>Dennis Sackmann | Niklas Held | Moritz </a:t>
            </a:r>
            <a:r>
              <a:rPr lang="en-US" dirty="0" err="1"/>
              <a:t>Gaßmann</a:t>
            </a:r>
            <a:r>
              <a:rPr lang="en-US" dirty="0"/>
              <a:t> - </a:t>
            </a:r>
            <a:r>
              <a:rPr lang="en-US" dirty="0" err="1"/>
              <a:t>Problemset</a:t>
            </a:r>
            <a:r>
              <a:rPr lang="en-US" dirty="0"/>
              <a:t> 3: Extracting Predictive Equity Features from Stock Options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B75EC1F-E943-F4AC-1871-BDF91F509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CCD1C-07EA-B446-8E9B-27068A3C76D9}" type="slidenum">
              <a:rPr lang="de-DE" smtClean="0"/>
              <a:t>9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DE68AA2-FB48-A358-BAFD-8AE5C0C882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998" y="1825625"/>
            <a:ext cx="5813469" cy="322084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7095472-B907-6007-35FE-7B4F58BF1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476" y="1883857"/>
            <a:ext cx="4025279" cy="39517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17EBDEE-4B45-BAD7-4E8B-54C7662519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863" y="2786701"/>
            <a:ext cx="5265948" cy="36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3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DFloatVTI">
  <a:themeElements>
    <a:clrScheme name="Float">
      <a:dk1>
        <a:sysClr val="windowText" lastClr="000000"/>
      </a:dk1>
      <a:lt1>
        <a:sysClr val="window" lastClr="FFFFFF"/>
      </a:lt1>
      <a:dk2>
        <a:srgbClr val="1B192E"/>
      </a:dk2>
      <a:lt2>
        <a:srgbClr val="EAE5EB"/>
      </a:lt2>
      <a:accent1>
        <a:srgbClr val="13BE89"/>
      </a:accent1>
      <a:accent2>
        <a:srgbClr val="12B1BF"/>
      </a:accent2>
      <a:accent3>
        <a:srgbClr val="D40AA8"/>
      </a:accent3>
      <a:accent4>
        <a:srgbClr val="B86E62"/>
      </a:accent4>
      <a:accent5>
        <a:srgbClr val="A3A3C1"/>
      </a:accent5>
      <a:accent6>
        <a:srgbClr val="37335B"/>
      </a:accent6>
      <a:hlink>
        <a:srgbClr val="0066FF"/>
      </a:hlink>
      <a:folHlink>
        <a:srgbClr val="666699"/>
      </a:folHlink>
    </a:clrScheme>
    <a:fontScheme name="Float">
      <a:majorFont>
        <a:latin typeface="Walbaum Display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33713516_win32_SL_V10" id="{E46C2CD7-2554-477F-A8C8-CFF94EB09A28}" vid="{537905CE-FEA4-4496-8A76-17AAC9F79BF7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217de4e-4378-427d-855d-fa5ae7a2025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FDDCFCEFCEA748BB1DC068361B154A" ma:contentTypeVersion="10" ma:contentTypeDescription="Create a new document." ma:contentTypeScope="" ma:versionID="39d29d832534c5d93b84aad612254a17">
  <xsd:schema xmlns:xsd="http://www.w3.org/2001/XMLSchema" xmlns:xs="http://www.w3.org/2001/XMLSchema" xmlns:p="http://schemas.microsoft.com/office/2006/metadata/properties" xmlns:ns2="4217de4e-4378-427d-855d-fa5ae7a2025b" targetNamespace="http://schemas.microsoft.com/office/2006/metadata/properties" ma:root="true" ma:fieldsID="49a977f8694f4bbafa73825d609fc10d" ns2:_="">
    <xsd:import namespace="4217de4e-4378-427d-855d-fa5ae7a2025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7de4e-4378-427d-855d-fa5ae7a202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7050f6e-97f2-48e7-ad72-ec3f75f900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342EE1-43E5-4AFB-895D-B61B9656DC14}">
  <ds:schemaRefs>
    <ds:schemaRef ds:uri="16c05727-aa75-4e4a-9b5f-8a80a1165891"/>
    <ds:schemaRef ds:uri="230e9df3-be65-4c73-a93b-d1236ebd677e"/>
    <ds:schemaRef ds:uri="4217de4e-4378-427d-855d-fa5ae7a2025b"/>
    <ds:schemaRef ds:uri="71af3243-3dd4-4a8d-8c0d-dd76da1f02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F49CD38-5B57-4682-9FCE-B9174068D0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B74136-E32A-4F11-B3A9-0BAE67E26A12}">
  <ds:schemaRefs>
    <ds:schemaRef ds:uri="4217de4e-4378-427d-855d-fa5ae7a2025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5</Words>
  <Application>Microsoft Macintosh PowerPoint</Application>
  <PresentationFormat>Breitbild</PresentationFormat>
  <Paragraphs>111</Paragraphs>
  <Slides>1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Gill Sans MT</vt:lpstr>
      <vt:lpstr>Walbaum Display</vt:lpstr>
      <vt:lpstr>3DFloatVTI</vt:lpstr>
      <vt:lpstr>think-cell Folie</vt:lpstr>
      <vt:lpstr>Extracting Predictive Equity Features from Stock Options   Financial Data Science | Dennis, Moritz, Niklas</vt:lpstr>
      <vt:lpstr>Agenda</vt:lpstr>
      <vt:lpstr>Motivation </vt:lpstr>
      <vt:lpstr>Theoretical Background </vt:lpstr>
      <vt:lpstr>From Option Prices to Moments</vt:lpstr>
      <vt:lpstr>SPX vs. Stock A</vt:lpstr>
      <vt:lpstr>SPX vs. Stock A</vt:lpstr>
      <vt:lpstr>SPX vs. Stock A</vt:lpstr>
      <vt:lpstr>Skewness Decomposing</vt:lpstr>
      <vt:lpstr>Skewness Decomposing in Practice</vt:lpstr>
      <vt:lpstr>Daily Skewness Market vs. Firm Effects</vt:lpstr>
      <vt:lpstr>Index vs. Stock Skewness</vt:lpstr>
      <vt:lpstr>Skewness Comparison SPX vs. Stocks</vt:lpstr>
      <vt:lpstr>Economic Interpre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th, Ronny (054)</dc:creator>
  <cp:lastModifiedBy>ujxyu</cp:lastModifiedBy>
  <cp:revision>22</cp:revision>
  <dcterms:created xsi:type="dcterms:W3CDTF">2025-05-19T09:47:47Z</dcterms:created>
  <dcterms:modified xsi:type="dcterms:W3CDTF">2025-06-22T21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MSIP_Label_924dbb1d-991d-4bbd-aad5-33bac1d8ffaf_Enabled">
    <vt:lpwstr>true</vt:lpwstr>
  </property>
  <property fmtid="{D5CDD505-2E9C-101B-9397-08002B2CF9AE}" pid="4" name="MSIP_Label_924dbb1d-991d-4bbd-aad5-33bac1d8ffaf_SetDate">
    <vt:lpwstr>2025-05-19T09:47:50Z</vt:lpwstr>
  </property>
  <property fmtid="{D5CDD505-2E9C-101B-9397-08002B2CF9AE}" pid="5" name="MSIP_Label_924dbb1d-991d-4bbd-aad5-33bac1d8ffaf_Method">
    <vt:lpwstr>Standard</vt:lpwstr>
  </property>
  <property fmtid="{D5CDD505-2E9C-101B-9397-08002B2CF9AE}" pid="6" name="MSIP_Label_924dbb1d-991d-4bbd-aad5-33bac1d8ffaf_Name">
    <vt:lpwstr>924dbb1d-991d-4bbd-aad5-33bac1d8ffaf</vt:lpwstr>
  </property>
  <property fmtid="{D5CDD505-2E9C-101B-9397-08002B2CF9AE}" pid="7" name="MSIP_Label_924dbb1d-991d-4bbd-aad5-33bac1d8ffaf_SiteId">
    <vt:lpwstr>9652d7c2-1ccf-4940-8151-4a92bd474ed0</vt:lpwstr>
  </property>
  <property fmtid="{D5CDD505-2E9C-101B-9397-08002B2CF9AE}" pid="8" name="MSIP_Label_924dbb1d-991d-4bbd-aad5-33bac1d8ffaf_ActionId">
    <vt:lpwstr>6603193b-42e4-482a-be76-ce26c2c12bbc</vt:lpwstr>
  </property>
  <property fmtid="{D5CDD505-2E9C-101B-9397-08002B2CF9AE}" pid="9" name="MSIP_Label_924dbb1d-991d-4bbd-aad5-33bac1d8ffaf_ContentBits">
    <vt:lpwstr>0</vt:lpwstr>
  </property>
  <property fmtid="{D5CDD505-2E9C-101B-9397-08002B2CF9AE}" pid="10" name="MSIP_Label_924dbb1d-991d-4bbd-aad5-33bac1d8ffaf_Tag">
    <vt:lpwstr>10, 3, 0, 2</vt:lpwstr>
  </property>
  <property fmtid="{D5CDD505-2E9C-101B-9397-08002B2CF9AE}" pid="11" name="ContentTypeId">
    <vt:lpwstr>0x01010065FDDCFCEFCEA748BB1DC068361B154A</vt:lpwstr>
  </property>
</Properties>
</file>